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  <p:sldMasterId id="2147483674" r:id="rId6"/>
  </p:sldMasterIdLst>
  <p:sldIdLst>
    <p:sldId id="897" r:id="rId7"/>
    <p:sldId id="957" r:id="rId8"/>
    <p:sldId id="965" r:id="rId9"/>
    <p:sldId id="966" r:id="rId10"/>
    <p:sldId id="967" r:id="rId11"/>
    <p:sldId id="968" r:id="rId12"/>
    <p:sldId id="969" r:id="rId13"/>
    <p:sldId id="970" r:id="rId14"/>
    <p:sldId id="974" r:id="rId15"/>
    <p:sldId id="971" r:id="rId16"/>
    <p:sldId id="972" r:id="rId17"/>
    <p:sldId id="973" r:id="rId18"/>
    <p:sldId id="975" r:id="rId19"/>
    <p:sldId id="976" r:id="rId20"/>
    <p:sldId id="977" r:id="rId21"/>
    <p:sldId id="978" r:id="rId22"/>
    <p:sldId id="979" r:id="rId23"/>
    <p:sldId id="980" r:id="rId24"/>
    <p:sldId id="981" r:id="rId25"/>
    <p:sldId id="982" r:id="rId26"/>
    <p:sldId id="983" r:id="rId27"/>
    <p:sldId id="984" r:id="rId28"/>
    <p:sldId id="985" r:id="rId29"/>
    <p:sldId id="986" r:id="rId30"/>
    <p:sldId id="987" r:id="rId31"/>
    <p:sldId id="988" r:id="rId32"/>
    <p:sldId id="989" r:id="rId33"/>
    <p:sldId id="990" r:id="rId34"/>
    <p:sldId id="991" r:id="rId35"/>
    <p:sldId id="992" r:id="rId36"/>
    <p:sldId id="993" r:id="rId37"/>
    <p:sldId id="994" r:id="rId38"/>
    <p:sldId id="995" r:id="rId39"/>
    <p:sldId id="996" r:id="rId40"/>
    <p:sldId id="997" r:id="rId41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00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47512D-19AA-41FC-81B7-9345564ACAE2}" v="65" dt="2023-01-25T08:56:34.536"/>
    <p1510:client id="{2D015F2B-0072-466E-A79D-98A30B53EB15}" v="502" dt="2023-01-25T12:15:27.861"/>
    <p1510:client id="{7FB10871-8041-444F-9E1E-286053DA3D72}" v="2" dt="2023-01-25T06:56:22.573"/>
    <p1510:client id="{D0419574-586C-454F-A82B-1B0682A7A5F5}" v="7" dt="2023-01-25T14:42:37.20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186" y="2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Štorková Nikol" userId="2c765807-ce4c-4669-be93-88625896deff" providerId="ADAL" clId="{2D015F2B-0072-466E-A79D-98A30B53EB15}"/>
    <pc:docChg chg="undo redo custSel addSld delSld modSld sldOrd">
      <pc:chgData name="Štorková Nikol" userId="2c765807-ce4c-4669-be93-88625896deff" providerId="ADAL" clId="{2D015F2B-0072-466E-A79D-98A30B53EB15}" dt="2023-01-25T12:16:01.086" v="814" actId="1037"/>
      <pc:docMkLst>
        <pc:docMk/>
      </pc:docMkLst>
      <pc:sldChg chg="addSp delSp modSp mod">
        <pc:chgData name="Štorková Nikol" userId="2c765807-ce4c-4669-be93-88625896deff" providerId="ADAL" clId="{2D015F2B-0072-466E-A79D-98A30B53EB15}" dt="2023-01-24T15:33:20.688" v="685" actId="14100"/>
        <pc:sldMkLst>
          <pc:docMk/>
          <pc:sldMk cId="2274116967" sldId="897"/>
        </pc:sldMkLst>
        <pc:spChg chg="mod">
          <ac:chgData name="Štorková Nikol" userId="2c765807-ce4c-4669-be93-88625896deff" providerId="ADAL" clId="{2D015F2B-0072-466E-A79D-98A30B53EB15}" dt="2023-01-24T15:33:20.688" v="685" actId="14100"/>
          <ac:spMkLst>
            <pc:docMk/>
            <pc:sldMk cId="2274116967" sldId="897"/>
            <ac:spMk id="2" creationId="{63924327-74E2-6723-B304-D44885B01E0E}"/>
          </ac:spMkLst>
        </pc:spChg>
        <pc:spChg chg="add del mod">
          <ac:chgData name="Štorková Nikol" userId="2c765807-ce4c-4669-be93-88625896deff" providerId="ADAL" clId="{2D015F2B-0072-466E-A79D-98A30B53EB15}" dt="2023-01-24T13:42:45.933" v="3" actId="478"/>
          <ac:spMkLst>
            <pc:docMk/>
            <pc:sldMk cId="2274116967" sldId="897"/>
            <ac:spMk id="4" creationId="{BA85D577-5FEC-42B6-BF06-9AFEDB9AB7FC}"/>
          </ac:spMkLst>
        </pc:spChg>
        <pc:spChg chg="del mod">
          <ac:chgData name="Štorková Nikol" userId="2c765807-ce4c-4669-be93-88625896deff" providerId="ADAL" clId="{2D015F2B-0072-466E-A79D-98A30B53EB15}" dt="2023-01-24T13:42:39.975" v="1" actId="478"/>
          <ac:spMkLst>
            <pc:docMk/>
            <pc:sldMk cId="2274116967" sldId="897"/>
            <ac:spMk id="7" creationId="{C1B8D732-0106-4426-AEA9-9F0CEA382D25}"/>
          </ac:spMkLst>
        </pc:spChg>
      </pc:sldChg>
      <pc:sldChg chg="add ord">
        <pc:chgData name="Štorková Nikol" userId="2c765807-ce4c-4669-be93-88625896deff" providerId="ADAL" clId="{2D015F2B-0072-466E-A79D-98A30B53EB15}" dt="2023-01-24T15:22:45.478" v="624"/>
        <pc:sldMkLst>
          <pc:docMk/>
          <pc:sldMk cId="2756640198" sldId="952"/>
        </pc:sldMkLst>
      </pc:sldChg>
      <pc:sldChg chg="addSp delSp modSp mod">
        <pc:chgData name="Štorková Nikol" userId="2c765807-ce4c-4669-be93-88625896deff" providerId="ADAL" clId="{2D015F2B-0072-466E-A79D-98A30B53EB15}" dt="2023-01-24T13:45:34.466" v="15" actId="1076"/>
        <pc:sldMkLst>
          <pc:docMk/>
          <pc:sldMk cId="1140780335" sldId="957"/>
        </pc:sldMkLst>
        <pc:spChg chg="ord">
          <ac:chgData name="Štorková Nikol" userId="2c765807-ce4c-4669-be93-88625896deff" providerId="ADAL" clId="{2D015F2B-0072-466E-A79D-98A30B53EB15}" dt="2023-01-24T13:45:22.749" v="13" actId="167"/>
          <ac:spMkLst>
            <pc:docMk/>
            <pc:sldMk cId="1140780335" sldId="957"/>
            <ac:spMk id="4" creationId="{1021FE82-A39D-4106-9302-7478145AA850}"/>
          </ac:spMkLst>
        </pc:spChg>
        <pc:spChg chg="mod">
          <ac:chgData name="Štorková Nikol" userId="2c765807-ce4c-4669-be93-88625896deff" providerId="ADAL" clId="{2D015F2B-0072-466E-A79D-98A30B53EB15}" dt="2023-01-24T13:45:26.493" v="14" actId="14100"/>
          <ac:spMkLst>
            <pc:docMk/>
            <pc:sldMk cId="1140780335" sldId="957"/>
            <ac:spMk id="6" creationId="{3413E9D0-FDE3-471A-BC42-6812FE2979FA}"/>
          </ac:spMkLst>
        </pc:spChg>
        <pc:picChg chg="add mod">
          <ac:chgData name="Štorková Nikol" userId="2c765807-ce4c-4669-be93-88625896deff" providerId="ADAL" clId="{2D015F2B-0072-466E-A79D-98A30B53EB15}" dt="2023-01-24T13:45:34.466" v="15" actId="1076"/>
          <ac:picMkLst>
            <pc:docMk/>
            <pc:sldMk cId="1140780335" sldId="957"/>
            <ac:picMk id="3" creationId="{A946913A-9558-4EBD-85C8-383D5A061BA1}"/>
          </ac:picMkLst>
        </pc:picChg>
        <pc:picChg chg="del">
          <ac:chgData name="Štorková Nikol" userId="2c765807-ce4c-4669-be93-88625896deff" providerId="ADAL" clId="{2D015F2B-0072-466E-A79D-98A30B53EB15}" dt="2023-01-24T13:44:24.587" v="8" actId="478"/>
          <ac:picMkLst>
            <pc:docMk/>
            <pc:sldMk cId="1140780335" sldId="957"/>
            <ac:picMk id="5" creationId="{3FC05D3F-8579-49CB-9205-BB0C898BB983}"/>
          </ac:picMkLst>
        </pc:picChg>
      </pc:sldChg>
      <pc:sldChg chg="addSp delSp modSp mod">
        <pc:chgData name="Štorková Nikol" userId="2c765807-ce4c-4669-be93-88625896deff" providerId="ADAL" clId="{2D015F2B-0072-466E-A79D-98A30B53EB15}" dt="2023-01-25T08:26:46.169" v="686" actId="207"/>
        <pc:sldMkLst>
          <pc:docMk/>
          <pc:sldMk cId="2488632897" sldId="965"/>
        </pc:sldMkLst>
        <pc:spChg chg="del mod">
          <ac:chgData name="Štorková Nikol" userId="2c765807-ce4c-4669-be93-88625896deff" providerId="ADAL" clId="{2D015F2B-0072-466E-A79D-98A30B53EB15}" dt="2023-01-24T13:49:50.425" v="50" actId="478"/>
          <ac:spMkLst>
            <pc:docMk/>
            <pc:sldMk cId="2488632897" sldId="965"/>
            <ac:spMk id="5" creationId="{A0A404A4-D38F-5B24-AEA0-772A46144451}"/>
          </ac:spMkLst>
        </pc:spChg>
        <pc:spChg chg="add mod">
          <ac:chgData name="Štorková Nikol" userId="2c765807-ce4c-4669-be93-88625896deff" providerId="ADAL" clId="{2D015F2B-0072-466E-A79D-98A30B53EB15}" dt="2023-01-25T08:26:46.169" v="686" actId="207"/>
          <ac:spMkLst>
            <pc:docMk/>
            <pc:sldMk cId="2488632897" sldId="965"/>
            <ac:spMk id="7" creationId="{73C7E8B2-53FF-430C-AFB0-C0794673649A}"/>
          </ac:spMkLst>
        </pc:spChg>
        <pc:picChg chg="mod">
          <ac:chgData name="Štorková Nikol" userId="2c765807-ce4c-4669-be93-88625896deff" providerId="ADAL" clId="{2D015F2B-0072-466E-A79D-98A30B53EB15}" dt="2023-01-24T13:49:59.484" v="52" actId="1076"/>
          <ac:picMkLst>
            <pc:docMk/>
            <pc:sldMk cId="2488632897" sldId="965"/>
            <ac:picMk id="3" creationId="{92FC282F-8766-5610-9669-B9B788BF84F7}"/>
          </ac:picMkLst>
        </pc:picChg>
      </pc:sldChg>
      <pc:sldChg chg="addSp delSp modSp mod">
        <pc:chgData name="Štorková Nikol" userId="2c765807-ce4c-4669-be93-88625896deff" providerId="ADAL" clId="{2D015F2B-0072-466E-A79D-98A30B53EB15}" dt="2023-01-24T14:00:02.613" v="126" actId="1076"/>
        <pc:sldMkLst>
          <pc:docMk/>
          <pc:sldMk cId="536384991" sldId="966"/>
        </pc:sldMkLst>
        <pc:spChg chg="ord">
          <ac:chgData name="Štorková Nikol" userId="2c765807-ce4c-4669-be93-88625896deff" providerId="ADAL" clId="{2D015F2B-0072-466E-A79D-98A30B53EB15}" dt="2023-01-24T13:46:52.853" v="30" actId="167"/>
          <ac:spMkLst>
            <pc:docMk/>
            <pc:sldMk cId="536384991" sldId="966"/>
            <ac:spMk id="4" creationId="{1021FE82-A39D-4106-9302-7478145AA850}"/>
          </ac:spMkLst>
        </pc:spChg>
        <pc:spChg chg="mod">
          <ac:chgData name="Štorková Nikol" userId="2c765807-ce4c-4669-be93-88625896deff" providerId="ADAL" clId="{2D015F2B-0072-466E-A79D-98A30B53EB15}" dt="2023-01-24T13:46:56.734" v="31" actId="14100"/>
          <ac:spMkLst>
            <pc:docMk/>
            <pc:sldMk cId="536384991" sldId="966"/>
            <ac:spMk id="6" creationId="{3413E9D0-FDE3-471A-BC42-6812FE2979FA}"/>
          </ac:spMkLst>
        </pc:spChg>
        <pc:picChg chg="add mod">
          <ac:chgData name="Štorková Nikol" userId="2c765807-ce4c-4669-be93-88625896deff" providerId="ADAL" clId="{2D015F2B-0072-466E-A79D-98A30B53EB15}" dt="2023-01-24T14:00:02.613" v="126" actId="1076"/>
          <ac:picMkLst>
            <pc:docMk/>
            <pc:sldMk cId="536384991" sldId="966"/>
            <ac:picMk id="3" creationId="{22C7AEE4-633B-4F3D-B85C-6111FA748CDD}"/>
          </ac:picMkLst>
        </pc:picChg>
        <pc:picChg chg="del">
          <ac:chgData name="Štorková Nikol" userId="2c765807-ce4c-4669-be93-88625896deff" providerId="ADAL" clId="{2D015F2B-0072-466E-A79D-98A30B53EB15}" dt="2023-01-24T13:46:59.302" v="32" actId="478"/>
          <ac:picMkLst>
            <pc:docMk/>
            <pc:sldMk cId="536384991" sldId="966"/>
            <ac:picMk id="5" creationId="{3FC05D3F-8579-49CB-9205-BB0C898BB983}"/>
          </ac:picMkLst>
        </pc:picChg>
      </pc:sldChg>
      <pc:sldChg chg="addSp delSp modSp mod">
        <pc:chgData name="Štorková Nikol" userId="2c765807-ce4c-4669-be93-88625896deff" providerId="ADAL" clId="{2D015F2B-0072-466E-A79D-98A30B53EB15}" dt="2023-01-25T12:16:01.086" v="814" actId="1037"/>
        <pc:sldMkLst>
          <pc:docMk/>
          <pc:sldMk cId="4129345124" sldId="967"/>
        </pc:sldMkLst>
        <pc:spChg chg="add mod">
          <ac:chgData name="Štorková Nikol" userId="2c765807-ce4c-4669-be93-88625896deff" providerId="ADAL" clId="{2D015F2B-0072-466E-A79D-98A30B53EB15}" dt="2023-01-25T12:16:01.086" v="814" actId="1037"/>
          <ac:spMkLst>
            <pc:docMk/>
            <pc:sldMk cId="4129345124" sldId="967"/>
            <ac:spMk id="2" creationId="{333DBCA4-C050-426A-B7DA-09B47ACA0350}"/>
          </ac:spMkLst>
        </pc:spChg>
        <pc:spChg chg="mod">
          <ac:chgData name="Štorková Nikol" userId="2c765807-ce4c-4669-be93-88625896deff" providerId="ADAL" clId="{2D015F2B-0072-466E-A79D-98A30B53EB15}" dt="2023-01-25T08:26:55.628" v="687" actId="207"/>
          <ac:spMkLst>
            <pc:docMk/>
            <pc:sldMk cId="4129345124" sldId="967"/>
            <ac:spMk id="3" creationId="{7CB9EBA3-2417-822D-BFCC-3CC8FF8DA34A}"/>
          </ac:spMkLst>
        </pc:spChg>
        <pc:spChg chg="add del mod">
          <ac:chgData name="Štorková Nikol" userId="2c765807-ce4c-4669-be93-88625896deff" providerId="ADAL" clId="{2D015F2B-0072-466E-A79D-98A30B53EB15}" dt="2023-01-24T13:55:23.672" v="99" actId="478"/>
          <ac:spMkLst>
            <pc:docMk/>
            <pc:sldMk cId="4129345124" sldId="967"/>
            <ac:spMk id="4" creationId="{0B13722C-818B-4DF6-9CB2-F342EBE52BA2}"/>
          </ac:spMkLst>
        </pc:spChg>
        <pc:spChg chg="del">
          <ac:chgData name="Štorková Nikol" userId="2c765807-ce4c-4669-be93-88625896deff" providerId="ADAL" clId="{2D015F2B-0072-466E-A79D-98A30B53EB15}" dt="2023-01-24T13:55:26.193" v="100" actId="478"/>
          <ac:spMkLst>
            <pc:docMk/>
            <pc:sldMk cId="4129345124" sldId="967"/>
            <ac:spMk id="10" creationId="{071EA521-5B81-CB8A-0D04-56FC662D9FA2}"/>
          </ac:spMkLst>
        </pc:spChg>
        <pc:spChg chg="add mod">
          <ac:chgData name="Štorková Nikol" userId="2c765807-ce4c-4669-be93-88625896deff" providerId="ADAL" clId="{2D015F2B-0072-466E-A79D-98A30B53EB15}" dt="2023-01-25T08:29:34.767" v="694" actId="1582"/>
          <ac:spMkLst>
            <pc:docMk/>
            <pc:sldMk cId="4129345124" sldId="967"/>
            <ac:spMk id="12" creationId="{09506177-2D38-45BD-81A3-768254B4716B}"/>
          </ac:spMkLst>
        </pc:spChg>
        <pc:picChg chg="add del mod">
          <ac:chgData name="Štorková Nikol" userId="2c765807-ce4c-4669-be93-88625896deff" providerId="ADAL" clId="{2D015F2B-0072-466E-A79D-98A30B53EB15}" dt="2023-01-25T08:29:56.058" v="696" actId="2085"/>
          <ac:picMkLst>
            <pc:docMk/>
            <pc:sldMk cId="4129345124" sldId="967"/>
            <ac:picMk id="6" creationId="{74208F99-AFD7-405B-3042-68F575A04D3E}"/>
          </ac:picMkLst>
        </pc:picChg>
        <pc:cxnChg chg="del mod">
          <ac:chgData name="Štorková Nikol" userId="2c765807-ce4c-4669-be93-88625896deff" providerId="ADAL" clId="{2D015F2B-0072-466E-A79D-98A30B53EB15}" dt="2023-01-24T13:55:28.599" v="101" actId="478"/>
          <ac:cxnSpMkLst>
            <pc:docMk/>
            <pc:sldMk cId="4129345124" sldId="967"/>
            <ac:cxnSpMk id="11" creationId="{4D06D4E2-002F-A2C6-047F-7325F189D5F7}"/>
          </ac:cxnSpMkLst>
        </pc:cxnChg>
      </pc:sldChg>
      <pc:sldChg chg="addSp delSp modSp mod">
        <pc:chgData name="Štorková Nikol" userId="2c765807-ce4c-4669-be93-88625896deff" providerId="ADAL" clId="{2D015F2B-0072-466E-A79D-98A30B53EB15}" dt="2023-01-25T12:10:58.481" v="709" actId="692"/>
        <pc:sldMkLst>
          <pc:docMk/>
          <pc:sldMk cId="882692567" sldId="968"/>
        </pc:sldMkLst>
        <pc:spChg chg="mod">
          <ac:chgData name="Štorková Nikol" userId="2c765807-ce4c-4669-be93-88625896deff" providerId="ADAL" clId="{2D015F2B-0072-466E-A79D-98A30B53EB15}" dt="2023-01-25T12:10:58.481" v="709" actId="692"/>
          <ac:spMkLst>
            <pc:docMk/>
            <pc:sldMk cId="882692567" sldId="968"/>
            <ac:spMk id="4" creationId="{E2254BE9-21E0-05F0-D60F-C51AFB2060CF}"/>
          </ac:spMkLst>
        </pc:spChg>
        <pc:spChg chg="add del mod">
          <ac:chgData name="Štorková Nikol" userId="2c765807-ce4c-4669-be93-88625896deff" providerId="ADAL" clId="{2D015F2B-0072-466E-A79D-98A30B53EB15}" dt="2023-01-24T13:50:28.211" v="56" actId="478"/>
          <ac:spMkLst>
            <pc:docMk/>
            <pc:sldMk cId="882692567" sldId="968"/>
            <ac:spMk id="5" creationId="{7C4AEBE4-E009-4A46-A321-DA71582F3F19}"/>
          </ac:spMkLst>
        </pc:spChg>
        <pc:spChg chg="add del mod">
          <ac:chgData name="Štorková Nikol" userId="2c765807-ce4c-4669-be93-88625896deff" providerId="ADAL" clId="{2D015F2B-0072-466E-A79D-98A30B53EB15}" dt="2023-01-24T13:51:27.376" v="63" actId="1076"/>
          <ac:spMkLst>
            <pc:docMk/>
            <pc:sldMk cId="882692567" sldId="968"/>
            <ac:spMk id="7" creationId="{CE65AB20-5881-0054-73D1-C0A8FA69F8C1}"/>
          </ac:spMkLst>
        </pc:spChg>
        <pc:picChg chg="mod">
          <ac:chgData name="Štorková Nikol" userId="2c765807-ce4c-4669-be93-88625896deff" providerId="ADAL" clId="{2D015F2B-0072-466E-A79D-98A30B53EB15}" dt="2023-01-24T13:51:32.895" v="64" actId="1076"/>
          <ac:picMkLst>
            <pc:docMk/>
            <pc:sldMk cId="882692567" sldId="968"/>
            <ac:picMk id="3" creationId="{C27D1875-2722-475E-B668-FF2D0E5F7A0E}"/>
          </ac:picMkLst>
        </pc:picChg>
      </pc:sldChg>
      <pc:sldChg chg="addSp delSp modSp mod">
        <pc:chgData name="Štorková Nikol" userId="2c765807-ce4c-4669-be93-88625896deff" providerId="ADAL" clId="{2D015F2B-0072-466E-A79D-98A30B53EB15}" dt="2023-01-25T12:11:06.593" v="712" actId="692"/>
        <pc:sldMkLst>
          <pc:docMk/>
          <pc:sldMk cId="2934381354" sldId="969"/>
        </pc:sldMkLst>
        <pc:spChg chg="mod">
          <ac:chgData name="Štorková Nikol" userId="2c765807-ce4c-4669-be93-88625896deff" providerId="ADAL" clId="{2D015F2B-0072-466E-A79D-98A30B53EB15}" dt="2023-01-24T13:54:04.869" v="87" actId="1076"/>
          <ac:spMkLst>
            <pc:docMk/>
            <pc:sldMk cId="2934381354" sldId="969"/>
            <ac:spMk id="5" creationId="{36A285B6-E6EF-BC07-9C87-B59797FA0276}"/>
          </ac:spMkLst>
        </pc:spChg>
        <pc:spChg chg="mod">
          <ac:chgData name="Štorková Nikol" userId="2c765807-ce4c-4669-be93-88625896deff" providerId="ADAL" clId="{2D015F2B-0072-466E-A79D-98A30B53EB15}" dt="2023-01-24T13:54:04.869" v="87" actId="1076"/>
          <ac:spMkLst>
            <pc:docMk/>
            <pc:sldMk cId="2934381354" sldId="969"/>
            <ac:spMk id="6" creationId="{E5E001CC-74DD-B92C-9F6A-744F4A99217E}"/>
          </ac:spMkLst>
        </pc:spChg>
        <pc:spChg chg="mod">
          <ac:chgData name="Štorková Nikol" userId="2c765807-ce4c-4669-be93-88625896deff" providerId="ADAL" clId="{2D015F2B-0072-466E-A79D-98A30B53EB15}" dt="2023-01-24T13:52:32.233" v="77" actId="14100"/>
          <ac:spMkLst>
            <pc:docMk/>
            <pc:sldMk cId="2934381354" sldId="969"/>
            <ac:spMk id="7" creationId="{CE65AB20-5881-0054-73D1-C0A8FA69F8C1}"/>
          </ac:spMkLst>
        </pc:spChg>
        <pc:spChg chg="mod">
          <ac:chgData name="Štorková Nikol" userId="2c765807-ce4c-4669-be93-88625896deff" providerId="ADAL" clId="{2D015F2B-0072-466E-A79D-98A30B53EB15}" dt="2023-01-24T13:54:04.869" v="87" actId="1076"/>
          <ac:spMkLst>
            <pc:docMk/>
            <pc:sldMk cId="2934381354" sldId="969"/>
            <ac:spMk id="10" creationId="{9AB03FA9-841B-01EA-E87C-AF683F44D2B5}"/>
          </ac:spMkLst>
        </pc:spChg>
        <pc:spChg chg="mod">
          <ac:chgData name="Štorková Nikol" userId="2c765807-ce4c-4669-be93-88625896deff" providerId="ADAL" clId="{2D015F2B-0072-466E-A79D-98A30B53EB15}" dt="2023-01-24T13:54:04.869" v="87" actId="1076"/>
          <ac:spMkLst>
            <pc:docMk/>
            <pc:sldMk cId="2934381354" sldId="969"/>
            <ac:spMk id="11" creationId="{8D95447B-E455-E297-B241-C1D36960E2B2}"/>
          </ac:spMkLst>
        </pc:spChg>
        <pc:spChg chg="mod">
          <ac:chgData name="Štorková Nikol" userId="2c765807-ce4c-4669-be93-88625896deff" providerId="ADAL" clId="{2D015F2B-0072-466E-A79D-98A30B53EB15}" dt="2023-01-24T13:52:45.123" v="79" actId="1076"/>
          <ac:spMkLst>
            <pc:docMk/>
            <pc:sldMk cId="2934381354" sldId="969"/>
            <ac:spMk id="13" creationId="{B99C4D0D-F7A9-CBF3-4182-400CCF725C39}"/>
          </ac:spMkLst>
        </pc:spChg>
        <pc:spChg chg="mod">
          <ac:chgData name="Štorková Nikol" userId="2c765807-ce4c-4669-be93-88625896deff" providerId="ADAL" clId="{2D015F2B-0072-466E-A79D-98A30B53EB15}" dt="2023-01-24T13:53:00.975" v="81" actId="14100"/>
          <ac:spMkLst>
            <pc:docMk/>
            <pc:sldMk cId="2934381354" sldId="969"/>
            <ac:spMk id="14" creationId="{1C102FF7-92A0-FC6F-150B-B682662C77D5}"/>
          </ac:spMkLst>
        </pc:spChg>
        <pc:spChg chg="add mod">
          <ac:chgData name="Štorková Nikol" userId="2c765807-ce4c-4669-be93-88625896deff" providerId="ADAL" clId="{2D015F2B-0072-466E-A79D-98A30B53EB15}" dt="2023-01-25T12:10:14.393" v="698" actId="1076"/>
          <ac:spMkLst>
            <pc:docMk/>
            <pc:sldMk cId="2934381354" sldId="969"/>
            <ac:spMk id="16" creationId="{F0F5039E-3658-40F6-9E5A-6D553D55D750}"/>
          </ac:spMkLst>
        </pc:spChg>
        <pc:spChg chg="del mod">
          <ac:chgData name="Štorková Nikol" userId="2c765807-ce4c-4669-be93-88625896deff" providerId="ADAL" clId="{2D015F2B-0072-466E-A79D-98A30B53EB15}" dt="2023-01-24T13:54:31.639" v="91" actId="478"/>
          <ac:spMkLst>
            <pc:docMk/>
            <pc:sldMk cId="2934381354" sldId="969"/>
            <ac:spMk id="17" creationId="{537ADD1D-B5F2-888E-7157-E62EB460AA8A}"/>
          </ac:spMkLst>
        </pc:spChg>
        <pc:spChg chg="add mod">
          <ac:chgData name="Štorková Nikol" userId="2c765807-ce4c-4669-be93-88625896deff" providerId="ADAL" clId="{2D015F2B-0072-466E-A79D-98A30B53EB15}" dt="2023-01-25T12:11:06.593" v="712" actId="692"/>
          <ac:spMkLst>
            <pc:docMk/>
            <pc:sldMk cId="2934381354" sldId="969"/>
            <ac:spMk id="20" creationId="{82553BB0-BF61-4372-ADBF-EA3C373561DD}"/>
          </ac:spMkLst>
        </pc:spChg>
        <pc:picChg chg="mod">
          <ac:chgData name="Štorková Nikol" userId="2c765807-ce4c-4669-be93-88625896deff" providerId="ADAL" clId="{2D015F2B-0072-466E-A79D-98A30B53EB15}" dt="2023-01-24T13:54:04.869" v="87" actId="1076"/>
          <ac:picMkLst>
            <pc:docMk/>
            <pc:sldMk cId="2934381354" sldId="969"/>
            <ac:picMk id="3" creationId="{89251910-766E-D496-1C62-1C0BDD674BA6}"/>
          </ac:picMkLst>
        </pc:picChg>
        <pc:picChg chg="mod">
          <ac:chgData name="Štorková Nikol" userId="2c765807-ce4c-4669-be93-88625896deff" providerId="ADAL" clId="{2D015F2B-0072-466E-A79D-98A30B53EB15}" dt="2023-01-24T13:54:22.723" v="89" actId="1076"/>
          <ac:picMkLst>
            <pc:docMk/>
            <pc:sldMk cId="2934381354" sldId="969"/>
            <ac:picMk id="4" creationId="{2A00F421-8601-F96E-805A-A33AC23BDCB9}"/>
          </ac:picMkLst>
        </pc:picChg>
        <pc:picChg chg="mod">
          <ac:chgData name="Štorková Nikol" userId="2c765807-ce4c-4669-be93-88625896deff" providerId="ADAL" clId="{2D015F2B-0072-466E-A79D-98A30B53EB15}" dt="2023-01-24T13:53:07.441" v="82" actId="1076"/>
          <ac:picMkLst>
            <pc:docMk/>
            <pc:sldMk cId="2934381354" sldId="969"/>
            <ac:picMk id="12" creationId="{880DCD04-0F46-C103-CADD-97BF78BB8DA9}"/>
          </ac:picMkLst>
        </pc:picChg>
        <pc:cxnChg chg="del mod">
          <ac:chgData name="Štorková Nikol" userId="2c765807-ce4c-4669-be93-88625896deff" providerId="ADAL" clId="{2D015F2B-0072-466E-A79D-98A30B53EB15}" dt="2023-01-24T13:55:00.509" v="95" actId="478"/>
          <ac:cxnSpMkLst>
            <pc:docMk/>
            <pc:sldMk cId="2934381354" sldId="969"/>
            <ac:cxnSpMk id="18" creationId="{17E775AE-7A2D-0BE6-70E6-381397624A0B}"/>
          </ac:cxnSpMkLst>
        </pc:cxnChg>
      </pc:sldChg>
      <pc:sldChg chg="modSp mod">
        <pc:chgData name="Štorková Nikol" userId="2c765807-ce4c-4669-be93-88625896deff" providerId="ADAL" clId="{2D015F2B-0072-466E-A79D-98A30B53EB15}" dt="2023-01-24T15:15:36.867" v="576" actId="1076"/>
        <pc:sldMkLst>
          <pc:docMk/>
          <pc:sldMk cId="3062839450" sldId="970"/>
        </pc:sldMkLst>
        <pc:spChg chg="mod">
          <ac:chgData name="Štorková Nikol" userId="2c765807-ce4c-4669-be93-88625896deff" providerId="ADAL" clId="{2D015F2B-0072-466E-A79D-98A30B53EB15}" dt="2023-01-24T13:57:02.288" v="112" actId="1076"/>
          <ac:spMkLst>
            <pc:docMk/>
            <pc:sldMk cId="3062839450" sldId="970"/>
            <ac:spMk id="7" creationId="{CE65AB20-5881-0054-73D1-C0A8FA69F8C1}"/>
          </ac:spMkLst>
        </pc:spChg>
        <pc:picChg chg="mod">
          <ac:chgData name="Štorková Nikol" userId="2c765807-ce4c-4669-be93-88625896deff" providerId="ADAL" clId="{2D015F2B-0072-466E-A79D-98A30B53EB15}" dt="2023-01-24T15:15:36.867" v="576" actId="1076"/>
          <ac:picMkLst>
            <pc:docMk/>
            <pc:sldMk cId="3062839450" sldId="970"/>
            <ac:picMk id="3" creationId="{D54EAD1A-3468-BFD3-A247-D03E7F553E82}"/>
          </ac:picMkLst>
        </pc:picChg>
      </pc:sldChg>
      <pc:sldChg chg="addSp delSp modSp mod">
        <pc:chgData name="Štorková Nikol" userId="2c765807-ce4c-4669-be93-88625896deff" providerId="ADAL" clId="{2D015F2B-0072-466E-A79D-98A30B53EB15}" dt="2023-01-25T12:11:28.375" v="718" actId="692"/>
        <pc:sldMkLst>
          <pc:docMk/>
          <pc:sldMk cId="3731233985" sldId="971"/>
        </pc:sldMkLst>
        <pc:spChg chg="del">
          <ac:chgData name="Štorková Nikol" userId="2c765807-ce4c-4669-be93-88625896deff" providerId="ADAL" clId="{2D015F2B-0072-466E-A79D-98A30B53EB15}" dt="2023-01-24T14:02:19.837" v="136" actId="478"/>
          <ac:spMkLst>
            <pc:docMk/>
            <pc:sldMk cId="3731233985" sldId="971"/>
            <ac:spMk id="6" creationId="{CDE62F45-287E-9773-2DE2-406D25996025}"/>
          </ac:spMkLst>
        </pc:spChg>
        <pc:spChg chg="mod">
          <ac:chgData name="Štorková Nikol" userId="2c765807-ce4c-4669-be93-88625896deff" providerId="ADAL" clId="{2D015F2B-0072-466E-A79D-98A30B53EB15}" dt="2023-01-24T14:03:24.699" v="149" actId="20577"/>
          <ac:spMkLst>
            <pc:docMk/>
            <pc:sldMk cId="3731233985" sldId="971"/>
            <ac:spMk id="7" creationId="{CE65AB20-5881-0054-73D1-C0A8FA69F8C1}"/>
          </ac:spMkLst>
        </pc:spChg>
        <pc:spChg chg="add mod">
          <ac:chgData name="Štorková Nikol" userId="2c765807-ce4c-4669-be93-88625896deff" providerId="ADAL" clId="{2D015F2B-0072-466E-A79D-98A30B53EB15}" dt="2023-01-25T12:11:28.375" v="718" actId="692"/>
          <ac:spMkLst>
            <pc:docMk/>
            <pc:sldMk cId="3731233985" sldId="971"/>
            <ac:spMk id="11" creationId="{FB651CD8-EA08-4DB2-91C0-8614837A1D04}"/>
          </ac:spMkLst>
        </pc:spChg>
        <pc:spChg chg="mod">
          <ac:chgData name="Štorková Nikol" userId="2c765807-ce4c-4669-be93-88625896deff" providerId="ADAL" clId="{2D015F2B-0072-466E-A79D-98A30B53EB15}" dt="2023-01-25T08:27:21.656" v="689" actId="207"/>
          <ac:spMkLst>
            <pc:docMk/>
            <pc:sldMk cId="3731233985" sldId="971"/>
            <ac:spMk id="12" creationId="{6C65B3E7-730D-B428-CA26-E4C912DA3D6F}"/>
          </ac:spMkLst>
        </pc:spChg>
        <pc:picChg chg="mod">
          <ac:chgData name="Štorková Nikol" userId="2c765807-ce4c-4669-be93-88625896deff" providerId="ADAL" clId="{2D015F2B-0072-466E-A79D-98A30B53EB15}" dt="2023-01-24T14:04:36.582" v="151" actId="14861"/>
          <ac:picMkLst>
            <pc:docMk/>
            <pc:sldMk cId="3731233985" sldId="971"/>
            <ac:picMk id="5" creationId="{7375DFF6-FEA0-A995-12F2-44052E3484B3}"/>
          </ac:picMkLst>
        </pc:picChg>
        <pc:cxnChg chg="del">
          <ac:chgData name="Štorková Nikol" userId="2c765807-ce4c-4669-be93-88625896deff" providerId="ADAL" clId="{2D015F2B-0072-466E-A79D-98A30B53EB15}" dt="2023-01-24T14:02:28.990" v="140" actId="478"/>
          <ac:cxnSpMkLst>
            <pc:docMk/>
            <pc:sldMk cId="3731233985" sldId="971"/>
            <ac:cxnSpMk id="10" creationId="{71C18BD4-E8BD-0E4E-FF36-37891823C24A}"/>
          </ac:cxnSpMkLst>
        </pc:cxnChg>
      </pc:sldChg>
      <pc:sldChg chg="addSp delSp modSp mod">
        <pc:chgData name="Štorková Nikol" userId="2c765807-ce4c-4669-be93-88625896deff" providerId="ADAL" clId="{2D015F2B-0072-466E-A79D-98A30B53EB15}" dt="2023-01-25T12:12:32.588" v="730" actId="1076"/>
        <pc:sldMkLst>
          <pc:docMk/>
          <pc:sldMk cId="1751661634" sldId="972"/>
        </pc:sldMkLst>
        <pc:spChg chg="mod">
          <ac:chgData name="Štorková Nikol" userId="2c765807-ce4c-4669-be93-88625896deff" providerId="ADAL" clId="{2D015F2B-0072-466E-A79D-98A30B53EB15}" dt="2023-01-24T15:15:26.668" v="574" actId="1076"/>
          <ac:spMkLst>
            <pc:docMk/>
            <pc:sldMk cId="1751661634" sldId="972"/>
            <ac:spMk id="3" creationId="{E3DAB4C7-EF02-1A17-9734-EE8AF56A5E3C}"/>
          </ac:spMkLst>
        </pc:spChg>
        <pc:spChg chg="add del">
          <ac:chgData name="Štorková Nikol" userId="2c765807-ce4c-4669-be93-88625896deff" providerId="ADAL" clId="{2D015F2B-0072-466E-A79D-98A30B53EB15}" dt="2023-01-24T14:07:26.275" v="238" actId="478"/>
          <ac:spMkLst>
            <pc:docMk/>
            <pc:sldMk cId="1751661634" sldId="972"/>
            <ac:spMk id="5" creationId="{6D9322BD-FBCB-9B6D-405F-C5A5C9340A18}"/>
          </ac:spMkLst>
        </pc:spChg>
        <pc:spChg chg="add del mod">
          <ac:chgData name="Štorková Nikol" userId="2c765807-ce4c-4669-be93-88625896deff" providerId="ADAL" clId="{2D015F2B-0072-466E-A79D-98A30B53EB15}" dt="2023-01-25T12:12:11.748" v="724" actId="692"/>
          <ac:spMkLst>
            <pc:docMk/>
            <pc:sldMk cId="1751661634" sldId="972"/>
            <ac:spMk id="10" creationId="{69E36588-2AB0-4DFF-8481-54F4F7465D94}"/>
          </ac:spMkLst>
        </pc:spChg>
        <pc:spChg chg="add del mod">
          <ac:chgData name="Štorková Nikol" userId="2c765807-ce4c-4669-be93-88625896deff" providerId="ADAL" clId="{2D015F2B-0072-466E-A79D-98A30B53EB15}" dt="2023-01-25T12:12:21.966" v="727" actId="478"/>
          <ac:spMkLst>
            <pc:docMk/>
            <pc:sldMk cId="1751661634" sldId="972"/>
            <ac:spMk id="11" creationId="{BEE11538-C0AA-4FE1-AEC3-A6E27EDD0B95}"/>
          </ac:spMkLst>
        </pc:spChg>
        <pc:spChg chg="add mod">
          <ac:chgData name="Štorková Nikol" userId="2c765807-ce4c-4669-be93-88625896deff" providerId="ADAL" clId="{2D015F2B-0072-466E-A79D-98A30B53EB15}" dt="2023-01-25T12:12:32.588" v="730" actId="1076"/>
          <ac:spMkLst>
            <pc:docMk/>
            <pc:sldMk cId="1751661634" sldId="972"/>
            <ac:spMk id="12" creationId="{235FEDDB-9077-4279-BB60-8F460E733C17}"/>
          </ac:spMkLst>
        </pc:spChg>
        <pc:picChg chg="mod">
          <ac:chgData name="Štorková Nikol" userId="2c765807-ce4c-4669-be93-88625896deff" providerId="ADAL" clId="{2D015F2B-0072-466E-A79D-98A30B53EB15}" dt="2023-01-24T14:07:30.058" v="250" actId="1036"/>
          <ac:picMkLst>
            <pc:docMk/>
            <pc:sldMk cId="1751661634" sldId="972"/>
            <ac:picMk id="4" creationId="{27EE46E7-389C-4434-0F80-DA88E24F270F}"/>
          </ac:picMkLst>
        </pc:picChg>
        <pc:cxnChg chg="add del">
          <ac:chgData name="Štorková Nikol" userId="2c765807-ce4c-4669-be93-88625896deff" providerId="ADAL" clId="{2D015F2B-0072-466E-A79D-98A30B53EB15}" dt="2023-01-24T14:07:26.436" v="239" actId="478"/>
          <ac:cxnSpMkLst>
            <pc:docMk/>
            <pc:sldMk cId="1751661634" sldId="972"/>
            <ac:cxnSpMk id="6" creationId="{3C1CF567-C472-83CE-5C1C-F45C9586DC95}"/>
          </ac:cxnSpMkLst>
        </pc:cxnChg>
      </pc:sldChg>
      <pc:sldChg chg="addSp delSp modSp mod">
        <pc:chgData name="Štorková Nikol" userId="2c765807-ce4c-4669-be93-88625896deff" providerId="ADAL" clId="{2D015F2B-0072-466E-A79D-98A30B53EB15}" dt="2023-01-25T12:12:55.159" v="739" actId="692"/>
        <pc:sldMkLst>
          <pc:docMk/>
          <pc:sldMk cId="4075299571" sldId="973"/>
        </pc:sldMkLst>
        <pc:spChg chg="mod">
          <ac:chgData name="Štorková Nikol" userId="2c765807-ce4c-4669-be93-88625896deff" providerId="ADAL" clId="{2D015F2B-0072-466E-A79D-98A30B53EB15}" dt="2023-01-24T15:15:19.249" v="573" actId="1076"/>
          <ac:spMkLst>
            <pc:docMk/>
            <pc:sldMk cId="4075299571" sldId="973"/>
            <ac:spMk id="3" creationId="{8581246A-9147-4CFE-8DF4-21BD7FB8F432}"/>
          </ac:spMkLst>
        </pc:spChg>
        <pc:spChg chg="del">
          <ac:chgData name="Štorková Nikol" userId="2c765807-ce4c-4669-be93-88625896deff" providerId="ADAL" clId="{2D015F2B-0072-466E-A79D-98A30B53EB15}" dt="2023-01-24T14:08:15.052" v="258" actId="478"/>
          <ac:spMkLst>
            <pc:docMk/>
            <pc:sldMk cId="4075299571" sldId="973"/>
            <ac:spMk id="5" creationId="{BE341A84-6CF9-B2D6-3940-449079A3FA39}"/>
          </ac:spMkLst>
        </pc:spChg>
        <pc:spChg chg="add mod">
          <ac:chgData name="Štorková Nikol" userId="2c765807-ce4c-4669-be93-88625896deff" providerId="ADAL" clId="{2D015F2B-0072-466E-A79D-98A30B53EB15}" dt="2023-01-25T12:12:55.159" v="739" actId="692"/>
          <ac:spMkLst>
            <pc:docMk/>
            <pc:sldMk cId="4075299571" sldId="973"/>
            <ac:spMk id="10" creationId="{B2378690-E00E-41A0-B264-266F17E53F7E}"/>
          </ac:spMkLst>
        </pc:spChg>
        <pc:spChg chg="add mod">
          <ac:chgData name="Štorková Nikol" userId="2c765807-ce4c-4669-be93-88625896deff" providerId="ADAL" clId="{2D015F2B-0072-466E-A79D-98A30B53EB15}" dt="2023-01-25T12:12:46.528" v="733" actId="1076"/>
          <ac:spMkLst>
            <pc:docMk/>
            <pc:sldMk cId="4075299571" sldId="973"/>
            <ac:spMk id="11" creationId="{0C4F605C-8691-4042-9799-E69E77E993D6}"/>
          </ac:spMkLst>
        </pc:spChg>
        <pc:picChg chg="mod">
          <ac:chgData name="Štorková Nikol" userId="2c765807-ce4c-4669-be93-88625896deff" providerId="ADAL" clId="{2D015F2B-0072-466E-A79D-98A30B53EB15}" dt="2023-01-24T14:09:07.956" v="275" actId="1036"/>
          <ac:picMkLst>
            <pc:docMk/>
            <pc:sldMk cId="4075299571" sldId="973"/>
            <ac:picMk id="4" creationId="{D30EC0D9-26A7-10CA-4780-6D056646EECA}"/>
          </ac:picMkLst>
        </pc:picChg>
        <pc:cxnChg chg="del mod">
          <ac:chgData name="Štorková Nikol" userId="2c765807-ce4c-4669-be93-88625896deff" providerId="ADAL" clId="{2D015F2B-0072-466E-A79D-98A30B53EB15}" dt="2023-01-24T14:08:34.843" v="261" actId="478"/>
          <ac:cxnSpMkLst>
            <pc:docMk/>
            <pc:sldMk cId="4075299571" sldId="973"/>
            <ac:cxnSpMk id="6" creationId="{68D813BB-9ACF-23AB-7134-6D6CB7F78CE4}"/>
          </ac:cxnSpMkLst>
        </pc:cxnChg>
      </pc:sldChg>
      <pc:sldChg chg="addSp delSp modSp mod">
        <pc:chgData name="Štorková Nikol" userId="2c765807-ce4c-4669-be93-88625896deff" providerId="ADAL" clId="{2D015F2B-0072-466E-A79D-98A30B53EB15}" dt="2023-01-24T13:59:58.984" v="125" actId="1076"/>
        <pc:sldMkLst>
          <pc:docMk/>
          <pc:sldMk cId="2502116312" sldId="974"/>
        </pc:sldMkLst>
        <pc:spChg chg="mod">
          <ac:chgData name="Štorková Nikol" userId="2c765807-ce4c-4669-be93-88625896deff" providerId="ADAL" clId="{2D015F2B-0072-466E-A79D-98A30B53EB15}" dt="2023-01-24T13:58:09.637" v="118" actId="14100"/>
          <ac:spMkLst>
            <pc:docMk/>
            <pc:sldMk cId="2502116312" sldId="974"/>
            <ac:spMk id="6" creationId="{3413E9D0-FDE3-471A-BC42-6812FE2979FA}"/>
          </ac:spMkLst>
        </pc:spChg>
        <pc:picChg chg="add mod">
          <ac:chgData name="Štorková Nikol" userId="2c765807-ce4c-4669-be93-88625896deff" providerId="ADAL" clId="{2D015F2B-0072-466E-A79D-98A30B53EB15}" dt="2023-01-24T13:59:58.984" v="125" actId="1076"/>
          <ac:picMkLst>
            <pc:docMk/>
            <pc:sldMk cId="2502116312" sldId="974"/>
            <ac:picMk id="3" creationId="{562A1985-81C0-4DA9-B1AA-DEA5419F3F5F}"/>
          </ac:picMkLst>
        </pc:picChg>
        <pc:picChg chg="del">
          <ac:chgData name="Štorková Nikol" userId="2c765807-ce4c-4669-be93-88625896deff" providerId="ADAL" clId="{2D015F2B-0072-466E-A79D-98A30B53EB15}" dt="2023-01-24T13:58:16.179" v="119" actId="478"/>
          <ac:picMkLst>
            <pc:docMk/>
            <pc:sldMk cId="2502116312" sldId="974"/>
            <ac:picMk id="5" creationId="{3FC05D3F-8579-49CB-9205-BB0C898BB983}"/>
          </ac:picMkLst>
        </pc:picChg>
      </pc:sldChg>
      <pc:sldChg chg="addSp delSp modSp mod">
        <pc:chgData name="Štorková Nikol" userId="2c765807-ce4c-4669-be93-88625896deff" providerId="ADAL" clId="{2D015F2B-0072-466E-A79D-98A30B53EB15}" dt="2023-01-25T12:13:17.741" v="749" actId="1076"/>
        <pc:sldMkLst>
          <pc:docMk/>
          <pc:sldMk cId="2413850004" sldId="975"/>
        </pc:sldMkLst>
        <pc:spChg chg="mod">
          <ac:chgData name="Štorková Nikol" userId="2c765807-ce4c-4669-be93-88625896deff" providerId="ADAL" clId="{2D015F2B-0072-466E-A79D-98A30B53EB15}" dt="2023-01-25T08:27:35.419" v="690" actId="207"/>
          <ac:spMkLst>
            <pc:docMk/>
            <pc:sldMk cId="2413850004" sldId="975"/>
            <ac:spMk id="2" creationId="{CA12303A-7C8A-BDED-F7C4-28243E8FC0EE}"/>
          </ac:spMkLst>
        </pc:spChg>
        <pc:spChg chg="add mod">
          <ac:chgData name="Štorková Nikol" userId="2c765807-ce4c-4669-be93-88625896deff" providerId="ADAL" clId="{2D015F2B-0072-466E-A79D-98A30B53EB15}" dt="2023-01-25T12:13:17.741" v="749" actId="1076"/>
          <ac:spMkLst>
            <pc:docMk/>
            <pc:sldMk cId="2413850004" sldId="975"/>
            <ac:spMk id="10" creationId="{25B3F0B8-6F34-4D15-9596-3245DB328DC5}"/>
          </ac:spMkLst>
        </pc:spChg>
        <pc:spChg chg="del">
          <ac:chgData name="Štorková Nikol" userId="2c765807-ce4c-4669-be93-88625896deff" providerId="ADAL" clId="{2D015F2B-0072-466E-A79D-98A30B53EB15}" dt="2023-01-24T14:09:55.794" v="289" actId="478"/>
          <ac:spMkLst>
            <pc:docMk/>
            <pc:sldMk cId="2413850004" sldId="975"/>
            <ac:spMk id="10" creationId="{97B343DC-0C4C-3E3F-5B3F-BC195D48AD46}"/>
          </ac:spMkLst>
        </pc:spChg>
        <pc:spChg chg="add mod">
          <ac:chgData name="Štorková Nikol" userId="2c765807-ce4c-4669-be93-88625896deff" providerId="ADAL" clId="{2D015F2B-0072-466E-A79D-98A30B53EB15}" dt="2023-01-25T12:13:06.351" v="745" actId="692"/>
          <ac:spMkLst>
            <pc:docMk/>
            <pc:sldMk cId="2413850004" sldId="975"/>
            <ac:spMk id="12" creationId="{20A9504A-F09D-419C-A108-9021A58AFC77}"/>
          </ac:spMkLst>
        </pc:spChg>
        <pc:picChg chg="mod">
          <ac:chgData name="Štorková Nikol" userId="2c765807-ce4c-4669-be93-88625896deff" providerId="ADAL" clId="{2D015F2B-0072-466E-A79D-98A30B53EB15}" dt="2023-01-25T12:13:11.543" v="748" actId="1076"/>
          <ac:picMkLst>
            <pc:docMk/>
            <pc:sldMk cId="2413850004" sldId="975"/>
            <ac:picMk id="4" creationId="{DA3FC84A-3910-9E53-6365-36D46DD8619F}"/>
          </ac:picMkLst>
        </pc:picChg>
        <pc:cxnChg chg="del mod">
          <ac:chgData name="Štorková Nikol" userId="2c765807-ce4c-4669-be93-88625896deff" providerId="ADAL" clId="{2D015F2B-0072-466E-A79D-98A30B53EB15}" dt="2023-01-24T14:09:58.219" v="290" actId="478"/>
          <ac:cxnSpMkLst>
            <pc:docMk/>
            <pc:sldMk cId="2413850004" sldId="975"/>
            <ac:cxnSpMk id="11" creationId="{43E300B8-3717-5007-ADE7-65F124BABC64}"/>
          </ac:cxnSpMkLst>
        </pc:cxnChg>
      </pc:sldChg>
      <pc:sldChg chg="modSp mod">
        <pc:chgData name="Štorková Nikol" userId="2c765807-ce4c-4669-be93-88625896deff" providerId="ADAL" clId="{2D015F2B-0072-466E-A79D-98A30B53EB15}" dt="2023-01-24T14:10:47.766" v="296" actId="1076"/>
        <pc:sldMkLst>
          <pc:docMk/>
          <pc:sldMk cId="564178374" sldId="976"/>
        </pc:sldMkLst>
        <pc:spChg chg="mod">
          <ac:chgData name="Štorková Nikol" userId="2c765807-ce4c-4669-be93-88625896deff" providerId="ADAL" clId="{2D015F2B-0072-466E-A79D-98A30B53EB15}" dt="2023-01-24T14:10:35.523" v="295" actId="1076"/>
          <ac:spMkLst>
            <pc:docMk/>
            <pc:sldMk cId="564178374" sldId="976"/>
            <ac:spMk id="10" creationId="{10FC6639-C7F4-ACFC-B800-184BD5F06BCC}"/>
          </ac:spMkLst>
        </pc:spChg>
        <pc:spChg chg="mod">
          <ac:chgData name="Štorková Nikol" userId="2c765807-ce4c-4669-be93-88625896deff" providerId="ADAL" clId="{2D015F2B-0072-466E-A79D-98A30B53EB15}" dt="2023-01-24T14:10:47.766" v="296" actId="1076"/>
          <ac:spMkLst>
            <pc:docMk/>
            <pc:sldMk cId="564178374" sldId="976"/>
            <ac:spMk id="11" creationId="{6F6F5B46-9171-3423-46D1-E53BCA4B7106}"/>
          </ac:spMkLst>
        </pc:spChg>
      </pc:sldChg>
      <pc:sldChg chg="addSp delSp modSp mod">
        <pc:chgData name="Štorková Nikol" userId="2c765807-ce4c-4669-be93-88625896deff" providerId="ADAL" clId="{2D015F2B-0072-466E-A79D-98A30B53EB15}" dt="2023-01-24T14:12:29.445" v="309" actId="1076"/>
        <pc:sldMkLst>
          <pc:docMk/>
          <pc:sldMk cId="688503388" sldId="977"/>
        </pc:sldMkLst>
        <pc:spChg chg="del">
          <ac:chgData name="Štorková Nikol" userId="2c765807-ce4c-4669-be93-88625896deff" providerId="ADAL" clId="{2D015F2B-0072-466E-A79D-98A30B53EB15}" dt="2023-01-24T14:11:00.638" v="297" actId="478"/>
          <ac:spMkLst>
            <pc:docMk/>
            <pc:sldMk cId="688503388" sldId="977"/>
            <ac:spMk id="2" creationId="{CA12303A-7C8A-BDED-F7C4-28243E8FC0EE}"/>
          </ac:spMkLst>
        </pc:spChg>
        <pc:spChg chg="mod">
          <ac:chgData name="Štorková Nikol" userId="2c765807-ce4c-4669-be93-88625896deff" providerId="ADAL" clId="{2D015F2B-0072-466E-A79D-98A30B53EB15}" dt="2023-01-24T14:12:29.445" v="309" actId="1076"/>
          <ac:spMkLst>
            <pc:docMk/>
            <pc:sldMk cId="688503388" sldId="977"/>
            <ac:spMk id="5" creationId="{9B2E3368-53BF-AB3A-8A5B-88631BF4AAD4}"/>
          </ac:spMkLst>
        </pc:spChg>
        <pc:spChg chg="add del mod">
          <ac:chgData name="Štorková Nikol" userId="2c765807-ce4c-4669-be93-88625896deff" providerId="ADAL" clId="{2D015F2B-0072-466E-A79D-98A30B53EB15}" dt="2023-01-24T14:11:03.048" v="298" actId="478"/>
          <ac:spMkLst>
            <pc:docMk/>
            <pc:sldMk cId="688503388" sldId="977"/>
            <ac:spMk id="6" creationId="{2720A162-68FD-4938-95E6-E7791223102D}"/>
          </ac:spMkLst>
        </pc:spChg>
        <pc:picChg chg="mod">
          <ac:chgData name="Štorková Nikol" userId="2c765807-ce4c-4669-be93-88625896deff" providerId="ADAL" clId="{2D015F2B-0072-466E-A79D-98A30B53EB15}" dt="2023-01-24T14:12:22.399" v="308" actId="1076"/>
          <ac:picMkLst>
            <pc:docMk/>
            <pc:sldMk cId="688503388" sldId="977"/>
            <ac:picMk id="4" creationId="{3957BF89-BA87-6906-360F-510C9D9DCACD}"/>
          </ac:picMkLst>
        </pc:picChg>
      </pc:sldChg>
      <pc:sldChg chg="modSp mod">
        <pc:chgData name="Štorková Nikol" userId="2c765807-ce4c-4669-be93-88625896deff" providerId="ADAL" clId="{2D015F2B-0072-466E-A79D-98A30B53EB15}" dt="2023-01-24T14:14:52.219" v="326" actId="1076"/>
        <pc:sldMkLst>
          <pc:docMk/>
          <pc:sldMk cId="3664384480" sldId="978"/>
        </pc:sldMkLst>
        <pc:spChg chg="mod">
          <ac:chgData name="Štorková Nikol" userId="2c765807-ce4c-4669-be93-88625896deff" providerId="ADAL" clId="{2D015F2B-0072-466E-A79D-98A30B53EB15}" dt="2023-01-24T14:14:52.219" v="326" actId="1076"/>
          <ac:spMkLst>
            <pc:docMk/>
            <pc:sldMk cId="3664384480" sldId="978"/>
            <ac:spMk id="10" creationId="{30B4AABC-4844-1174-7757-EA7E89A8597B}"/>
          </ac:spMkLst>
        </pc:spChg>
        <pc:picChg chg="mod">
          <ac:chgData name="Štorková Nikol" userId="2c765807-ce4c-4669-be93-88625896deff" providerId="ADAL" clId="{2D015F2B-0072-466E-A79D-98A30B53EB15}" dt="2023-01-24T14:12:44.411" v="310" actId="1076"/>
          <ac:picMkLst>
            <pc:docMk/>
            <pc:sldMk cId="3664384480" sldId="978"/>
            <ac:picMk id="4" creationId="{C8244907-9B28-B090-9BA8-78B3AAAACAE7}"/>
          </ac:picMkLst>
        </pc:picChg>
      </pc:sldChg>
      <pc:sldChg chg="addSp delSp modSp mod">
        <pc:chgData name="Štorková Nikol" userId="2c765807-ce4c-4669-be93-88625896deff" providerId="ADAL" clId="{2D015F2B-0072-466E-A79D-98A30B53EB15}" dt="2023-01-24T14:15:40.637" v="331" actId="108"/>
        <pc:sldMkLst>
          <pc:docMk/>
          <pc:sldMk cId="3211560665" sldId="979"/>
        </pc:sldMkLst>
        <pc:picChg chg="add mod">
          <ac:chgData name="Štorková Nikol" userId="2c765807-ce4c-4669-be93-88625896deff" providerId="ADAL" clId="{2D015F2B-0072-466E-A79D-98A30B53EB15}" dt="2023-01-24T14:15:40.637" v="331" actId="108"/>
          <ac:picMkLst>
            <pc:docMk/>
            <pc:sldMk cId="3211560665" sldId="979"/>
            <ac:picMk id="3" creationId="{A2A8DEF8-D4B0-4FE7-85D7-A1D37A144936}"/>
          </ac:picMkLst>
        </pc:picChg>
        <pc:picChg chg="del">
          <ac:chgData name="Štorková Nikol" userId="2c765807-ce4c-4669-be93-88625896deff" providerId="ADAL" clId="{2D015F2B-0072-466E-A79D-98A30B53EB15}" dt="2023-01-24T14:15:15.407" v="327" actId="478"/>
          <ac:picMkLst>
            <pc:docMk/>
            <pc:sldMk cId="3211560665" sldId="979"/>
            <ac:picMk id="5" creationId="{3FC05D3F-8579-49CB-9205-BB0C898BB983}"/>
          </ac:picMkLst>
        </pc:picChg>
      </pc:sldChg>
      <pc:sldChg chg="modSp mod">
        <pc:chgData name="Štorková Nikol" userId="2c765807-ce4c-4669-be93-88625896deff" providerId="ADAL" clId="{2D015F2B-0072-466E-A79D-98A30B53EB15}" dt="2023-01-24T14:15:57.278" v="334" actId="14861"/>
        <pc:sldMkLst>
          <pc:docMk/>
          <pc:sldMk cId="149620613" sldId="980"/>
        </pc:sldMkLst>
        <pc:picChg chg="mod">
          <ac:chgData name="Štorková Nikol" userId="2c765807-ce4c-4669-be93-88625896deff" providerId="ADAL" clId="{2D015F2B-0072-466E-A79D-98A30B53EB15}" dt="2023-01-24T14:15:57.278" v="334" actId="14861"/>
          <ac:picMkLst>
            <pc:docMk/>
            <pc:sldMk cId="149620613" sldId="980"/>
            <ac:picMk id="3" creationId="{6C424B84-662D-55AF-B3B5-5227D31BCB68}"/>
          </ac:picMkLst>
        </pc:picChg>
      </pc:sldChg>
      <pc:sldChg chg="modSp mod">
        <pc:chgData name="Štorková Nikol" userId="2c765807-ce4c-4669-be93-88625896deff" providerId="ADAL" clId="{2D015F2B-0072-466E-A79D-98A30B53EB15}" dt="2023-01-24T14:16:03.912" v="335" actId="14861"/>
        <pc:sldMkLst>
          <pc:docMk/>
          <pc:sldMk cId="297387808" sldId="981"/>
        </pc:sldMkLst>
        <pc:picChg chg="mod">
          <ac:chgData name="Štorková Nikol" userId="2c765807-ce4c-4669-be93-88625896deff" providerId="ADAL" clId="{2D015F2B-0072-466E-A79D-98A30B53EB15}" dt="2023-01-24T14:16:03.912" v="335" actId="14861"/>
          <ac:picMkLst>
            <pc:docMk/>
            <pc:sldMk cId="297387808" sldId="981"/>
            <ac:picMk id="3" creationId="{349F26DF-302D-07B4-F8E2-FEE2315AA9A3}"/>
          </ac:picMkLst>
        </pc:picChg>
      </pc:sldChg>
      <pc:sldChg chg="modSp mod">
        <pc:chgData name="Štorková Nikol" userId="2c765807-ce4c-4669-be93-88625896deff" providerId="ADAL" clId="{2D015F2B-0072-466E-A79D-98A30B53EB15}" dt="2023-01-24T14:16:50.383" v="344" actId="1076"/>
        <pc:sldMkLst>
          <pc:docMk/>
          <pc:sldMk cId="1574367050" sldId="982"/>
        </pc:sldMkLst>
        <pc:spChg chg="mod">
          <ac:chgData name="Štorková Nikol" userId="2c765807-ce4c-4669-be93-88625896deff" providerId="ADAL" clId="{2D015F2B-0072-466E-A79D-98A30B53EB15}" dt="2023-01-24T14:16:50.383" v="344" actId="1076"/>
          <ac:spMkLst>
            <pc:docMk/>
            <pc:sldMk cId="1574367050" sldId="982"/>
            <ac:spMk id="7" creationId="{CE65AB20-5881-0054-73D1-C0A8FA69F8C1}"/>
          </ac:spMkLst>
        </pc:spChg>
        <pc:picChg chg="mod">
          <ac:chgData name="Štorková Nikol" userId="2c765807-ce4c-4669-be93-88625896deff" providerId="ADAL" clId="{2D015F2B-0072-466E-A79D-98A30B53EB15}" dt="2023-01-24T14:16:47.363" v="343" actId="1076"/>
          <ac:picMkLst>
            <pc:docMk/>
            <pc:sldMk cId="1574367050" sldId="982"/>
            <ac:picMk id="3" creationId="{D68E9F5A-EF6A-CE3C-0A64-5E9D6031A628}"/>
          </ac:picMkLst>
        </pc:picChg>
      </pc:sldChg>
      <pc:sldChg chg="addSp delSp modSp mod">
        <pc:chgData name="Štorková Nikol" userId="2c765807-ce4c-4669-be93-88625896deff" providerId="ADAL" clId="{2D015F2B-0072-466E-A79D-98A30B53EB15}" dt="2023-01-25T12:14:03.828" v="763" actId="1037"/>
        <pc:sldMkLst>
          <pc:docMk/>
          <pc:sldMk cId="2940187280" sldId="983"/>
        </pc:sldMkLst>
        <pc:spChg chg="mod">
          <ac:chgData name="Štorková Nikol" userId="2c765807-ce4c-4669-be93-88625896deff" providerId="ADAL" clId="{2D015F2B-0072-466E-A79D-98A30B53EB15}" dt="2023-01-24T14:19:11.067" v="377"/>
          <ac:spMkLst>
            <pc:docMk/>
            <pc:sldMk cId="2940187280" sldId="983"/>
            <ac:spMk id="2" creationId="{CA12303A-7C8A-BDED-F7C4-28243E8FC0EE}"/>
          </ac:spMkLst>
        </pc:spChg>
        <pc:spChg chg="del">
          <ac:chgData name="Štorková Nikol" userId="2c765807-ce4c-4669-be93-88625896deff" providerId="ADAL" clId="{2D015F2B-0072-466E-A79D-98A30B53EB15}" dt="2023-01-24T14:19:43.509" v="384" actId="478"/>
          <ac:spMkLst>
            <pc:docMk/>
            <pc:sldMk cId="2940187280" sldId="983"/>
            <ac:spMk id="4" creationId="{1216D729-4006-1C21-5777-C23DFF048DEC}"/>
          </ac:spMkLst>
        </pc:spChg>
        <pc:spChg chg="del mod">
          <ac:chgData name="Štorková Nikol" userId="2c765807-ce4c-4669-be93-88625896deff" providerId="ADAL" clId="{2D015F2B-0072-466E-A79D-98A30B53EB15}" dt="2023-01-24T14:19:23.354" v="382" actId="478"/>
          <ac:spMkLst>
            <pc:docMk/>
            <pc:sldMk cId="2940187280" sldId="983"/>
            <ac:spMk id="7" creationId="{CE65AB20-5881-0054-73D1-C0A8FA69F8C1}"/>
          </ac:spMkLst>
        </pc:spChg>
        <pc:spChg chg="add mod">
          <ac:chgData name="Štorková Nikol" userId="2c765807-ce4c-4669-be93-88625896deff" providerId="ADAL" clId="{2D015F2B-0072-466E-A79D-98A30B53EB15}" dt="2023-01-25T12:14:03.828" v="763" actId="1037"/>
          <ac:spMkLst>
            <pc:docMk/>
            <pc:sldMk cId="2940187280" sldId="983"/>
            <ac:spMk id="10" creationId="{DB9ABB19-5A44-4387-B55F-534279A23EF2}"/>
          </ac:spMkLst>
        </pc:spChg>
        <pc:spChg chg="add del mod">
          <ac:chgData name="Štorková Nikol" userId="2c765807-ce4c-4669-be93-88625896deff" providerId="ADAL" clId="{2D015F2B-0072-466E-A79D-98A30B53EB15}" dt="2023-01-24T14:19:17.503" v="380" actId="478"/>
          <ac:spMkLst>
            <pc:docMk/>
            <pc:sldMk cId="2940187280" sldId="983"/>
            <ac:spMk id="10" creationId="{EBFA95FF-540A-4BD2-B6C4-D18CA5AFF4E9}"/>
          </ac:spMkLst>
        </pc:spChg>
        <pc:spChg chg="add mod">
          <ac:chgData name="Štorková Nikol" userId="2c765807-ce4c-4669-be93-88625896deff" providerId="ADAL" clId="{2D015F2B-0072-466E-A79D-98A30B53EB15}" dt="2023-01-24T14:19:23.354" v="382" actId="478"/>
          <ac:spMkLst>
            <pc:docMk/>
            <pc:sldMk cId="2940187280" sldId="983"/>
            <ac:spMk id="12" creationId="{F28661FF-4571-46E5-94B5-952391DE6149}"/>
          </ac:spMkLst>
        </pc:spChg>
        <pc:spChg chg="add mod">
          <ac:chgData name="Štorková Nikol" userId="2c765807-ce4c-4669-be93-88625896deff" providerId="ADAL" clId="{2D015F2B-0072-466E-A79D-98A30B53EB15}" dt="2023-01-25T12:13:47.564" v="755" actId="692"/>
          <ac:spMkLst>
            <pc:docMk/>
            <pc:sldMk cId="2940187280" sldId="983"/>
            <ac:spMk id="14" creationId="{0826B749-32F1-4E4C-B3F2-58B9F4E00306}"/>
          </ac:spMkLst>
        </pc:spChg>
        <pc:picChg chg="add del mod">
          <ac:chgData name="Štorková Nikol" userId="2c765807-ce4c-4669-be93-88625896deff" providerId="ADAL" clId="{2D015F2B-0072-466E-A79D-98A30B53EB15}" dt="2023-01-24T14:20:07.196" v="391" actId="14861"/>
          <ac:picMkLst>
            <pc:docMk/>
            <pc:sldMk cId="2940187280" sldId="983"/>
            <ac:picMk id="3" creationId="{BA900DE8-CFA3-C243-431A-DB897777BD31}"/>
          </ac:picMkLst>
        </pc:picChg>
        <pc:cxnChg chg="del mod">
          <ac:chgData name="Štorková Nikol" userId="2c765807-ce4c-4669-be93-88625896deff" providerId="ADAL" clId="{2D015F2B-0072-466E-A79D-98A30B53EB15}" dt="2023-01-24T14:19:40.923" v="383" actId="478"/>
          <ac:cxnSpMkLst>
            <pc:docMk/>
            <pc:sldMk cId="2940187280" sldId="983"/>
            <ac:cxnSpMk id="5" creationId="{E5AFB2EE-2476-1B25-9F61-46F32C707A39}"/>
          </ac:cxnSpMkLst>
        </pc:cxnChg>
      </pc:sldChg>
      <pc:sldChg chg="addSp delSp modSp mod">
        <pc:chgData name="Štorková Nikol" userId="2c765807-ce4c-4669-be93-88625896deff" providerId="ADAL" clId="{2D015F2B-0072-466E-A79D-98A30B53EB15}" dt="2023-01-25T12:14:28.390" v="775" actId="692"/>
        <pc:sldMkLst>
          <pc:docMk/>
          <pc:sldMk cId="2451152532" sldId="984"/>
        </pc:sldMkLst>
        <pc:spChg chg="del">
          <ac:chgData name="Štorková Nikol" userId="2c765807-ce4c-4669-be93-88625896deff" providerId="ADAL" clId="{2D015F2B-0072-466E-A79D-98A30B53EB15}" dt="2023-01-24T14:20:19.450" v="395" actId="478"/>
          <ac:spMkLst>
            <pc:docMk/>
            <pc:sldMk cId="2451152532" sldId="984"/>
            <ac:spMk id="6" creationId="{0C5252D8-796B-EAAE-8CBF-6782E128E677}"/>
          </ac:spMkLst>
        </pc:spChg>
        <pc:spChg chg="mod">
          <ac:chgData name="Štorková Nikol" userId="2c765807-ce4c-4669-be93-88625896deff" providerId="ADAL" clId="{2D015F2B-0072-466E-A79D-98A30B53EB15}" dt="2023-01-24T14:22:28.862" v="467" actId="1076"/>
          <ac:spMkLst>
            <pc:docMk/>
            <pc:sldMk cId="2451152532" sldId="984"/>
            <ac:spMk id="7" creationId="{CE65AB20-5881-0054-73D1-C0A8FA69F8C1}"/>
          </ac:spMkLst>
        </pc:spChg>
        <pc:spChg chg="add mod">
          <ac:chgData name="Štorková Nikol" userId="2c765807-ce4c-4669-be93-88625896deff" providerId="ADAL" clId="{2D015F2B-0072-466E-A79D-98A30B53EB15}" dt="2023-01-25T12:14:20.093" v="769" actId="1076"/>
          <ac:spMkLst>
            <pc:docMk/>
            <pc:sldMk cId="2451152532" sldId="984"/>
            <ac:spMk id="10" creationId="{79E9CFC7-21C2-4082-8B8C-8BC269B39D13}"/>
          </ac:spMkLst>
        </pc:spChg>
        <pc:spChg chg="add mod">
          <ac:chgData name="Štorková Nikol" userId="2c765807-ce4c-4669-be93-88625896deff" providerId="ADAL" clId="{2D015F2B-0072-466E-A79D-98A30B53EB15}" dt="2023-01-25T12:14:28.390" v="775" actId="692"/>
          <ac:spMkLst>
            <pc:docMk/>
            <pc:sldMk cId="2451152532" sldId="984"/>
            <ac:spMk id="11" creationId="{F9B02CD6-9104-4079-B1D9-5E6E841E37F5}"/>
          </ac:spMkLst>
        </pc:spChg>
        <pc:picChg chg="mod">
          <ac:chgData name="Štorková Nikol" userId="2c765807-ce4c-4669-be93-88625896deff" providerId="ADAL" clId="{2D015F2B-0072-466E-A79D-98A30B53EB15}" dt="2023-01-25T12:14:15.746" v="766" actId="1076"/>
          <ac:picMkLst>
            <pc:docMk/>
            <pc:sldMk cId="2451152532" sldId="984"/>
            <ac:picMk id="3" creationId="{BD87D745-DA61-07D2-A1A5-EEA5B0903FD6}"/>
          </ac:picMkLst>
        </pc:picChg>
        <pc:cxnChg chg="del mod">
          <ac:chgData name="Štorková Nikol" userId="2c765807-ce4c-4669-be93-88625896deff" providerId="ADAL" clId="{2D015F2B-0072-466E-A79D-98A30B53EB15}" dt="2023-01-24T14:20:28.310" v="400" actId="478"/>
          <ac:cxnSpMkLst>
            <pc:docMk/>
            <pc:sldMk cId="2451152532" sldId="984"/>
            <ac:cxnSpMk id="10" creationId="{5BC34AEC-C146-DEB0-DDE9-61973FCDC281}"/>
          </ac:cxnSpMkLst>
        </pc:cxnChg>
      </pc:sldChg>
      <pc:sldChg chg="addSp delSp modSp mod">
        <pc:chgData name="Štorková Nikol" userId="2c765807-ce4c-4669-be93-88625896deff" providerId="ADAL" clId="{2D015F2B-0072-466E-A79D-98A30B53EB15}" dt="2023-01-25T12:14:44.362" v="785" actId="692"/>
        <pc:sldMkLst>
          <pc:docMk/>
          <pc:sldMk cId="2931808811" sldId="985"/>
        </pc:sldMkLst>
        <pc:spChg chg="mod">
          <ac:chgData name="Štorková Nikol" userId="2c765807-ce4c-4669-be93-88625896deff" providerId="ADAL" clId="{2D015F2B-0072-466E-A79D-98A30B53EB15}" dt="2023-01-24T15:14:54.159" v="571" actId="1076"/>
          <ac:spMkLst>
            <pc:docMk/>
            <pc:sldMk cId="2931808811" sldId="985"/>
            <ac:spMk id="7" creationId="{CE65AB20-5881-0054-73D1-C0A8FA69F8C1}"/>
          </ac:spMkLst>
        </pc:spChg>
        <pc:spChg chg="add mod">
          <ac:chgData name="Štorková Nikol" userId="2c765807-ce4c-4669-be93-88625896deff" providerId="ADAL" clId="{2D015F2B-0072-466E-A79D-98A30B53EB15}" dt="2023-01-25T12:14:35.607" v="777" actId="1076"/>
          <ac:spMkLst>
            <pc:docMk/>
            <pc:sldMk cId="2931808811" sldId="985"/>
            <ac:spMk id="10" creationId="{4C1FD527-06FC-44E8-9958-7B9AB34D3E4E}"/>
          </ac:spMkLst>
        </pc:spChg>
        <pc:spChg chg="add del mod">
          <ac:chgData name="Štorková Nikol" userId="2c765807-ce4c-4669-be93-88625896deff" providerId="ADAL" clId="{2D015F2B-0072-466E-A79D-98A30B53EB15}" dt="2023-01-24T15:03:19.169" v="474" actId="478"/>
          <ac:spMkLst>
            <pc:docMk/>
            <pc:sldMk cId="2931808811" sldId="985"/>
            <ac:spMk id="10" creationId="{9E2E6A00-E8F6-C1C4-D94C-95C4CCDDBA69}"/>
          </ac:spMkLst>
        </pc:spChg>
        <pc:spChg chg="add mod">
          <ac:chgData name="Štorková Nikol" userId="2c765807-ce4c-4669-be93-88625896deff" providerId="ADAL" clId="{2D015F2B-0072-466E-A79D-98A30B53EB15}" dt="2023-01-25T12:14:44.362" v="785" actId="692"/>
          <ac:spMkLst>
            <pc:docMk/>
            <pc:sldMk cId="2931808811" sldId="985"/>
            <ac:spMk id="12" creationId="{FEB90713-0867-4415-B983-A2F824430B37}"/>
          </ac:spMkLst>
        </pc:spChg>
        <pc:picChg chg="mod">
          <ac:chgData name="Štorková Nikol" userId="2c765807-ce4c-4669-be93-88625896deff" providerId="ADAL" clId="{2D015F2B-0072-466E-A79D-98A30B53EB15}" dt="2023-01-24T15:03:59.064" v="482" actId="1076"/>
          <ac:picMkLst>
            <pc:docMk/>
            <pc:sldMk cId="2931808811" sldId="985"/>
            <ac:picMk id="4" creationId="{64BC9545-7E28-B391-46CB-0B1A15CB383C}"/>
          </ac:picMkLst>
        </pc:picChg>
        <pc:cxnChg chg="del mod">
          <ac:chgData name="Štorková Nikol" userId="2c765807-ce4c-4669-be93-88625896deff" providerId="ADAL" clId="{2D015F2B-0072-466E-A79D-98A30B53EB15}" dt="2023-01-24T15:03:20.158" v="475" actId="478"/>
          <ac:cxnSpMkLst>
            <pc:docMk/>
            <pc:sldMk cId="2931808811" sldId="985"/>
            <ac:cxnSpMk id="11" creationId="{E6C61B12-869C-7321-3C3C-3C249A8ACF5B}"/>
          </ac:cxnSpMkLst>
        </pc:cxnChg>
      </pc:sldChg>
      <pc:sldChg chg="addSp delSp modSp mod">
        <pc:chgData name="Štorková Nikol" userId="2c765807-ce4c-4669-be93-88625896deff" providerId="ADAL" clId="{2D015F2B-0072-466E-A79D-98A30B53EB15}" dt="2023-01-25T12:14:53.777" v="791" actId="692"/>
        <pc:sldMkLst>
          <pc:docMk/>
          <pc:sldMk cId="143435951" sldId="986"/>
        </pc:sldMkLst>
        <pc:spChg chg="del">
          <ac:chgData name="Štorková Nikol" userId="2c765807-ce4c-4669-be93-88625896deff" providerId="ADAL" clId="{2D015F2B-0072-466E-A79D-98A30B53EB15}" dt="2023-01-24T15:04:37.651" v="493" actId="478"/>
          <ac:spMkLst>
            <pc:docMk/>
            <pc:sldMk cId="143435951" sldId="986"/>
            <ac:spMk id="13" creationId="{314331D5-4FC7-5059-4637-7BE02A17C376}"/>
          </ac:spMkLst>
        </pc:spChg>
        <pc:spChg chg="add mod">
          <ac:chgData name="Štorková Nikol" userId="2c765807-ce4c-4669-be93-88625896deff" providerId="ADAL" clId="{2D015F2B-0072-466E-A79D-98A30B53EB15}" dt="2023-01-25T12:14:53.777" v="791" actId="692"/>
          <ac:spMkLst>
            <pc:docMk/>
            <pc:sldMk cId="143435951" sldId="986"/>
            <ac:spMk id="15" creationId="{81F31092-D677-4174-AB62-F9ABA0DADD00}"/>
          </ac:spMkLst>
        </pc:spChg>
        <pc:picChg chg="mod">
          <ac:chgData name="Štorková Nikol" userId="2c765807-ce4c-4669-be93-88625896deff" providerId="ADAL" clId="{2D015F2B-0072-466E-A79D-98A30B53EB15}" dt="2023-01-24T15:04:43.469" v="495" actId="1076"/>
          <ac:picMkLst>
            <pc:docMk/>
            <pc:sldMk cId="143435951" sldId="986"/>
            <ac:picMk id="4" creationId="{451DD4C6-D88C-BFB6-6D84-454944033074}"/>
          </ac:picMkLst>
        </pc:picChg>
        <pc:cxnChg chg="del mod">
          <ac:chgData name="Štorková Nikol" userId="2c765807-ce4c-4669-be93-88625896deff" providerId="ADAL" clId="{2D015F2B-0072-466E-A79D-98A30B53EB15}" dt="2023-01-24T15:04:39.241" v="494" actId="478"/>
          <ac:cxnSpMkLst>
            <pc:docMk/>
            <pc:sldMk cId="143435951" sldId="986"/>
            <ac:cxnSpMk id="14" creationId="{D6AB35F0-E5A2-8F3D-1DAF-1361C0B2FEAD}"/>
          </ac:cxnSpMkLst>
        </pc:cxnChg>
      </pc:sldChg>
      <pc:sldChg chg="addSp delSp modSp mod">
        <pc:chgData name="Štorková Nikol" userId="2c765807-ce4c-4669-be93-88625896deff" providerId="ADAL" clId="{2D015F2B-0072-466E-A79D-98A30B53EB15}" dt="2023-01-24T15:05:55.987" v="513" actId="14861"/>
        <pc:sldMkLst>
          <pc:docMk/>
          <pc:sldMk cId="4242697932" sldId="987"/>
        </pc:sldMkLst>
        <pc:spChg chg="del">
          <ac:chgData name="Štorková Nikol" userId="2c765807-ce4c-4669-be93-88625896deff" providerId="ADAL" clId="{2D015F2B-0072-466E-A79D-98A30B53EB15}" dt="2023-01-24T15:05:01.840" v="497" actId="478"/>
          <ac:spMkLst>
            <pc:docMk/>
            <pc:sldMk cId="4242697932" sldId="987"/>
            <ac:spMk id="2" creationId="{CA12303A-7C8A-BDED-F7C4-28243E8FC0EE}"/>
          </ac:spMkLst>
        </pc:spChg>
        <pc:spChg chg="mod">
          <ac:chgData name="Štorková Nikol" userId="2c765807-ce4c-4669-be93-88625896deff" providerId="ADAL" clId="{2D015F2B-0072-466E-A79D-98A30B53EB15}" dt="2023-01-24T15:05:19.910" v="502" actId="20577"/>
          <ac:spMkLst>
            <pc:docMk/>
            <pc:sldMk cId="4242697932" sldId="987"/>
            <ac:spMk id="4" creationId="{57BEB600-BCA0-7358-0F99-52F37621156A}"/>
          </ac:spMkLst>
        </pc:spChg>
        <pc:spChg chg="mod">
          <ac:chgData name="Štorková Nikol" userId="2c765807-ce4c-4669-be93-88625896deff" providerId="ADAL" clId="{2D015F2B-0072-466E-A79D-98A30B53EB15}" dt="2023-01-24T15:05:50.137" v="512" actId="20577"/>
          <ac:spMkLst>
            <pc:docMk/>
            <pc:sldMk cId="4242697932" sldId="987"/>
            <ac:spMk id="5" creationId="{BE1912ED-2CAA-0536-CE7E-CFCEBF7C8FAC}"/>
          </ac:spMkLst>
        </pc:spChg>
        <pc:spChg chg="mod">
          <ac:chgData name="Štorková Nikol" userId="2c765807-ce4c-4669-be93-88625896deff" providerId="ADAL" clId="{2D015F2B-0072-466E-A79D-98A30B53EB15}" dt="2023-01-24T15:05:37.179" v="507" actId="20577"/>
          <ac:spMkLst>
            <pc:docMk/>
            <pc:sldMk cId="4242697932" sldId="987"/>
            <ac:spMk id="6" creationId="{1A28BCA7-2D1A-A64B-BFEA-8A41812AA81E}"/>
          </ac:spMkLst>
        </pc:spChg>
        <pc:spChg chg="add del mod">
          <ac:chgData name="Štorková Nikol" userId="2c765807-ce4c-4669-be93-88625896deff" providerId="ADAL" clId="{2D015F2B-0072-466E-A79D-98A30B53EB15}" dt="2023-01-24T15:05:02.941" v="498" actId="478"/>
          <ac:spMkLst>
            <pc:docMk/>
            <pc:sldMk cId="4242697932" sldId="987"/>
            <ac:spMk id="11" creationId="{0E22DEE7-DE1F-4D2D-8E17-2CC9C081B1A8}"/>
          </ac:spMkLst>
        </pc:spChg>
        <pc:picChg chg="mod">
          <ac:chgData name="Štorková Nikol" userId="2c765807-ce4c-4669-be93-88625896deff" providerId="ADAL" clId="{2D015F2B-0072-466E-A79D-98A30B53EB15}" dt="2023-01-24T15:05:55.987" v="513" actId="14861"/>
          <ac:picMkLst>
            <pc:docMk/>
            <pc:sldMk cId="4242697932" sldId="987"/>
            <ac:picMk id="3" creationId="{972D4AB1-61CA-339B-FF83-FE69738FFD31}"/>
          </ac:picMkLst>
        </pc:picChg>
      </pc:sldChg>
      <pc:sldChg chg="modSp mod">
        <pc:chgData name="Štorková Nikol" userId="2c765807-ce4c-4669-be93-88625896deff" providerId="ADAL" clId="{2D015F2B-0072-466E-A79D-98A30B53EB15}" dt="2023-01-24T15:11:43.024" v="558" actId="20577"/>
        <pc:sldMkLst>
          <pc:docMk/>
          <pc:sldMk cId="315146030" sldId="988"/>
        </pc:sldMkLst>
        <pc:spChg chg="mod">
          <ac:chgData name="Štorková Nikol" userId="2c765807-ce4c-4669-be93-88625896deff" providerId="ADAL" clId="{2D015F2B-0072-466E-A79D-98A30B53EB15}" dt="2023-01-24T15:11:36.878" v="557" actId="20577"/>
          <ac:spMkLst>
            <pc:docMk/>
            <pc:sldMk cId="315146030" sldId="988"/>
            <ac:spMk id="4" creationId="{3EFA1E8D-E547-BE03-FE4C-B8058C67CB3F}"/>
          </ac:spMkLst>
        </pc:spChg>
        <pc:spChg chg="mod">
          <ac:chgData name="Štorková Nikol" userId="2c765807-ce4c-4669-be93-88625896deff" providerId="ADAL" clId="{2D015F2B-0072-466E-A79D-98A30B53EB15}" dt="2023-01-24T15:11:31.479" v="556" actId="20577"/>
          <ac:spMkLst>
            <pc:docMk/>
            <pc:sldMk cId="315146030" sldId="988"/>
            <ac:spMk id="5" creationId="{71F372D3-5A6B-2EEF-B253-5DEDF8C17F69}"/>
          </ac:spMkLst>
        </pc:spChg>
        <pc:spChg chg="mod">
          <ac:chgData name="Štorková Nikol" userId="2c765807-ce4c-4669-be93-88625896deff" providerId="ADAL" clId="{2D015F2B-0072-466E-A79D-98A30B53EB15}" dt="2023-01-24T15:11:43.024" v="558" actId="20577"/>
          <ac:spMkLst>
            <pc:docMk/>
            <pc:sldMk cId="315146030" sldId="988"/>
            <ac:spMk id="6" creationId="{089F94C1-AA16-FAC9-FFA9-681C844B5553}"/>
          </ac:spMkLst>
        </pc:spChg>
        <pc:spChg chg="mod">
          <ac:chgData name="Štorková Nikol" userId="2c765807-ce4c-4669-be93-88625896deff" providerId="ADAL" clId="{2D015F2B-0072-466E-A79D-98A30B53EB15}" dt="2023-01-24T15:11:10.651" v="553" actId="255"/>
          <ac:spMkLst>
            <pc:docMk/>
            <pc:sldMk cId="315146030" sldId="988"/>
            <ac:spMk id="10" creationId="{C5D85D6C-18E6-274F-4108-1C874255D5D4}"/>
          </ac:spMkLst>
        </pc:spChg>
        <pc:picChg chg="mod">
          <ac:chgData name="Štorková Nikol" userId="2c765807-ce4c-4669-be93-88625896deff" providerId="ADAL" clId="{2D015F2B-0072-466E-A79D-98A30B53EB15}" dt="2023-01-24T15:07:01.053" v="516" actId="14861"/>
          <ac:picMkLst>
            <pc:docMk/>
            <pc:sldMk cId="315146030" sldId="988"/>
            <ac:picMk id="3" creationId="{9DD85B96-3C6A-BA4F-E5E4-E1D935DE307A}"/>
          </ac:picMkLst>
        </pc:picChg>
      </pc:sldChg>
      <pc:sldChg chg="addSp delSp modSp mod">
        <pc:chgData name="Štorková Nikol" userId="2c765807-ce4c-4669-be93-88625896deff" providerId="ADAL" clId="{2D015F2B-0072-466E-A79D-98A30B53EB15}" dt="2023-01-24T15:14:26.566" v="568" actId="14861"/>
        <pc:sldMkLst>
          <pc:docMk/>
          <pc:sldMk cId="3413897893" sldId="989"/>
        </pc:sldMkLst>
        <pc:spChg chg="del">
          <ac:chgData name="Štorková Nikol" userId="2c765807-ce4c-4669-be93-88625896deff" providerId="ADAL" clId="{2D015F2B-0072-466E-A79D-98A30B53EB15}" dt="2023-01-24T15:09:07.127" v="533" actId="478"/>
          <ac:spMkLst>
            <pc:docMk/>
            <pc:sldMk cId="3413897893" sldId="989"/>
            <ac:spMk id="2" creationId="{CA12303A-7C8A-BDED-F7C4-28243E8FC0EE}"/>
          </ac:spMkLst>
        </pc:spChg>
        <pc:spChg chg="mod">
          <ac:chgData name="Štorková Nikol" userId="2c765807-ce4c-4669-be93-88625896deff" providerId="ADAL" clId="{2D015F2B-0072-466E-A79D-98A30B53EB15}" dt="2023-01-24T15:09:46.473" v="546" actId="20577"/>
          <ac:spMkLst>
            <pc:docMk/>
            <pc:sldMk cId="3413897893" sldId="989"/>
            <ac:spMk id="4" creationId="{539AC889-38FF-5E3C-D685-C57A804702F7}"/>
          </ac:spMkLst>
        </pc:spChg>
        <pc:spChg chg="mod">
          <ac:chgData name="Štorková Nikol" userId="2c765807-ce4c-4669-be93-88625896deff" providerId="ADAL" clId="{2D015F2B-0072-466E-A79D-98A30B53EB15}" dt="2023-01-24T15:12:52.114" v="560" actId="1076"/>
          <ac:spMkLst>
            <pc:docMk/>
            <pc:sldMk cId="3413897893" sldId="989"/>
            <ac:spMk id="5" creationId="{83B108BC-6BAB-D907-D722-FCD203D9E320}"/>
          </ac:spMkLst>
        </pc:spChg>
        <pc:spChg chg="add del mod">
          <ac:chgData name="Štorková Nikol" userId="2c765807-ce4c-4669-be93-88625896deff" providerId="ADAL" clId="{2D015F2B-0072-466E-A79D-98A30B53EB15}" dt="2023-01-24T15:09:08.891" v="534" actId="478"/>
          <ac:spMkLst>
            <pc:docMk/>
            <pc:sldMk cId="3413897893" sldId="989"/>
            <ac:spMk id="10" creationId="{391BC059-02EC-46EC-8065-8FF1D8AD0126}"/>
          </ac:spMkLst>
        </pc:spChg>
        <pc:picChg chg="mod">
          <ac:chgData name="Štorková Nikol" userId="2c765807-ce4c-4669-be93-88625896deff" providerId="ADAL" clId="{2D015F2B-0072-466E-A79D-98A30B53EB15}" dt="2023-01-24T15:14:26.566" v="568" actId="14861"/>
          <ac:picMkLst>
            <pc:docMk/>
            <pc:sldMk cId="3413897893" sldId="989"/>
            <ac:picMk id="3" creationId="{83063D2A-C31A-644D-CC8A-BC64A5287E50}"/>
          </ac:picMkLst>
        </pc:picChg>
      </pc:sldChg>
      <pc:sldChg chg="addSp delSp modSp mod">
        <pc:chgData name="Štorková Nikol" userId="2c765807-ce4c-4669-be93-88625896deff" providerId="ADAL" clId="{2D015F2B-0072-466E-A79D-98A30B53EB15}" dt="2023-01-25T12:15:25.233" v="801" actId="1076"/>
        <pc:sldMkLst>
          <pc:docMk/>
          <pc:sldMk cId="522916762" sldId="990"/>
        </pc:sldMkLst>
        <pc:spChg chg="del">
          <ac:chgData name="Štorková Nikol" userId="2c765807-ce4c-4669-be93-88625896deff" providerId="ADAL" clId="{2D015F2B-0072-466E-A79D-98A30B53EB15}" dt="2023-01-24T15:14:00.091" v="561" actId="478"/>
          <ac:spMkLst>
            <pc:docMk/>
            <pc:sldMk cId="522916762" sldId="990"/>
            <ac:spMk id="6" creationId="{58DB8450-AAA2-2089-D040-E9F630E00370}"/>
          </ac:spMkLst>
        </pc:spChg>
        <pc:spChg chg="mod">
          <ac:chgData name="Štorková Nikol" userId="2c765807-ce4c-4669-be93-88625896deff" providerId="ADAL" clId="{2D015F2B-0072-466E-A79D-98A30B53EB15}" dt="2023-01-24T15:17:24.285" v="581" actId="403"/>
          <ac:spMkLst>
            <pc:docMk/>
            <pc:sldMk cId="522916762" sldId="990"/>
            <ac:spMk id="7" creationId="{CE65AB20-5881-0054-73D1-C0A8FA69F8C1}"/>
          </ac:spMkLst>
        </pc:spChg>
        <pc:spChg chg="add mod">
          <ac:chgData name="Štorková Nikol" userId="2c765807-ce4c-4669-be93-88625896deff" providerId="ADAL" clId="{2D015F2B-0072-466E-A79D-98A30B53EB15}" dt="2023-01-25T12:15:25.233" v="801" actId="1076"/>
          <ac:spMkLst>
            <pc:docMk/>
            <pc:sldMk cId="522916762" sldId="990"/>
            <ac:spMk id="10" creationId="{A5F1A23A-C2B8-4D14-AA8B-936270864054}"/>
          </ac:spMkLst>
        </pc:spChg>
        <pc:spChg chg="add mod">
          <ac:chgData name="Štorková Nikol" userId="2c765807-ce4c-4669-be93-88625896deff" providerId="ADAL" clId="{2D015F2B-0072-466E-A79D-98A30B53EB15}" dt="2023-01-25T12:15:08.550" v="797" actId="692"/>
          <ac:spMkLst>
            <pc:docMk/>
            <pc:sldMk cId="522916762" sldId="990"/>
            <ac:spMk id="11" creationId="{3623585E-E4A1-46ED-807E-D2F031513B0B}"/>
          </ac:spMkLst>
        </pc:spChg>
        <pc:picChg chg="mod">
          <ac:chgData name="Štorková Nikol" userId="2c765807-ce4c-4669-be93-88625896deff" providerId="ADAL" clId="{2D015F2B-0072-466E-A79D-98A30B53EB15}" dt="2023-01-24T15:17:27.292" v="582" actId="1076"/>
          <ac:picMkLst>
            <pc:docMk/>
            <pc:sldMk cId="522916762" sldId="990"/>
            <ac:picMk id="3" creationId="{B2957B59-6955-3140-DC92-BC76EEA380E9}"/>
          </ac:picMkLst>
        </pc:picChg>
        <pc:cxnChg chg="del">
          <ac:chgData name="Štorková Nikol" userId="2c765807-ce4c-4669-be93-88625896deff" providerId="ADAL" clId="{2D015F2B-0072-466E-A79D-98A30B53EB15}" dt="2023-01-24T15:14:02.117" v="562" actId="478"/>
          <ac:cxnSpMkLst>
            <pc:docMk/>
            <pc:sldMk cId="522916762" sldId="990"/>
            <ac:cxnSpMk id="10" creationId="{E04818DA-EE05-A56B-F782-9CCDDB9CD06C}"/>
          </ac:cxnSpMkLst>
        </pc:cxnChg>
      </pc:sldChg>
      <pc:sldChg chg="addSp delSp modSp mod">
        <pc:chgData name="Štorková Nikol" userId="2c765807-ce4c-4669-be93-88625896deff" providerId="ADAL" clId="{2D015F2B-0072-466E-A79D-98A30B53EB15}" dt="2023-01-25T12:15:37.449" v="809" actId="692"/>
        <pc:sldMkLst>
          <pc:docMk/>
          <pc:sldMk cId="229985483" sldId="991"/>
        </pc:sldMkLst>
        <pc:spChg chg="del">
          <ac:chgData name="Štorková Nikol" userId="2c765807-ce4c-4669-be93-88625896deff" providerId="ADAL" clId="{2D015F2B-0072-466E-A79D-98A30B53EB15}" dt="2023-01-24T15:18:19.101" v="587" actId="478"/>
          <ac:spMkLst>
            <pc:docMk/>
            <pc:sldMk cId="229985483" sldId="991"/>
            <ac:spMk id="4" creationId="{DE852A88-1CCF-4EFB-63C5-E23AA06C8B72}"/>
          </ac:spMkLst>
        </pc:spChg>
        <pc:spChg chg="del">
          <ac:chgData name="Štorková Nikol" userId="2c765807-ce4c-4669-be93-88625896deff" providerId="ADAL" clId="{2D015F2B-0072-466E-A79D-98A30B53EB15}" dt="2023-01-24T15:19:08.097" v="604" actId="478"/>
          <ac:spMkLst>
            <pc:docMk/>
            <pc:sldMk cId="229985483" sldId="991"/>
            <ac:spMk id="6" creationId="{D108EC4D-E8DE-098A-ED80-420C2CE15BAE}"/>
          </ac:spMkLst>
        </pc:spChg>
        <pc:spChg chg="del">
          <ac:chgData name="Štorková Nikol" userId="2c765807-ce4c-4669-be93-88625896deff" providerId="ADAL" clId="{2D015F2B-0072-466E-A79D-98A30B53EB15}" dt="2023-01-24T15:18:45.226" v="591" actId="478"/>
          <ac:spMkLst>
            <pc:docMk/>
            <pc:sldMk cId="229985483" sldId="991"/>
            <ac:spMk id="7" creationId="{CE65AB20-5881-0054-73D1-C0A8FA69F8C1}"/>
          </ac:spMkLst>
        </pc:spChg>
        <pc:spChg chg="add mod">
          <ac:chgData name="Štorková Nikol" userId="2c765807-ce4c-4669-be93-88625896deff" providerId="ADAL" clId="{2D015F2B-0072-466E-A79D-98A30B53EB15}" dt="2023-01-25T12:15:32.746" v="803" actId="1076"/>
          <ac:spMkLst>
            <pc:docMk/>
            <pc:sldMk cId="229985483" sldId="991"/>
            <ac:spMk id="10" creationId="{AD760659-3B22-4724-ACF7-82A40E6120C1}"/>
          </ac:spMkLst>
        </pc:spChg>
        <pc:spChg chg="add mod">
          <ac:chgData name="Štorková Nikol" userId="2c765807-ce4c-4669-be93-88625896deff" providerId="ADAL" clId="{2D015F2B-0072-466E-A79D-98A30B53EB15}" dt="2023-01-25T12:15:37.449" v="809" actId="692"/>
          <ac:spMkLst>
            <pc:docMk/>
            <pc:sldMk cId="229985483" sldId="991"/>
            <ac:spMk id="11" creationId="{0FF0FB03-4977-4B5E-B487-65E8631045AC}"/>
          </ac:spMkLst>
        </pc:spChg>
        <pc:spChg chg="add mod">
          <ac:chgData name="Štorková Nikol" userId="2c765807-ce4c-4669-be93-88625896deff" providerId="ADAL" clId="{2D015F2B-0072-466E-A79D-98A30B53EB15}" dt="2023-01-24T15:18:45.226" v="591" actId="478"/>
          <ac:spMkLst>
            <pc:docMk/>
            <pc:sldMk cId="229985483" sldId="991"/>
            <ac:spMk id="12" creationId="{173B7643-D9D9-4CCC-A461-CBFC0CB92A88}"/>
          </ac:spMkLst>
        </pc:spChg>
        <pc:spChg chg="add mod">
          <ac:chgData name="Štorková Nikol" userId="2c765807-ce4c-4669-be93-88625896deff" providerId="ADAL" clId="{2D015F2B-0072-466E-A79D-98A30B53EB15}" dt="2023-01-24T15:19:14.192" v="607" actId="14100"/>
          <ac:spMkLst>
            <pc:docMk/>
            <pc:sldMk cId="229985483" sldId="991"/>
            <ac:spMk id="14" creationId="{2A4D9FE1-0135-4626-ADAE-1E216A7DAA11}"/>
          </ac:spMkLst>
        </pc:spChg>
        <pc:picChg chg="mod">
          <ac:chgData name="Štorková Nikol" userId="2c765807-ce4c-4669-be93-88625896deff" providerId="ADAL" clId="{2D015F2B-0072-466E-A79D-98A30B53EB15}" dt="2023-01-24T15:19:42.565" v="608" actId="14861"/>
          <ac:picMkLst>
            <pc:docMk/>
            <pc:sldMk cId="229985483" sldId="991"/>
            <ac:picMk id="3" creationId="{A1AF3E64-DCB5-DC07-DED2-B0E70B6B2F87}"/>
          </ac:picMkLst>
        </pc:picChg>
        <pc:cxnChg chg="del">
          <ac:chgData name="Štorková Nikol" userId="2c765807-ce4c-4669-be93-88625896deff" providerId="ADAL" clId="{2D015F2B-0072-466E-A79D-98A30B53EB15}" dt="2023-01-24T15:18:25.055" v="590" actId="478"/>
          <ac:cxnSpMkLst>
            <pc:docMk/>
            <pc:sldMk cId="229985483" sldId="991"/>
            <ac:cxnSpMk id="5" creationId="{D15E28DE-CEED-D43A-DD1B-F6351DF84DFE}"/>
          </ac:cxnSpMkLst>
        </pc:cxnChg>
        <pc:cxnChg chg="del">
          <ac:chgData name="Štorková Nikol" userId="2c765807-ce4c-4669-be93-88625896deff" providerId="ADAL" clId="{2D015F2B-0072-466E-A79D-98A30B53EB15}" dt="2023-01-24T15:19:09.041" v="605" actId="478"/>
          <ac:cxnSpMkLst>
            <pc:docMk/>
            <pc:sldMk cId="229985483" sldId="991"/>
            <ac:cxnSpMk id="10" creationId="{EA13DE6E-8B7B-6E1F-6089-7D7517A53228}"/>
          </ac:cxnSpMkLst>
        </pc:cxnChg>
      </pc:sldChg>
      <pc:sldChg chg="modSp mod">
        <pc:chgData name="Štorková Nikol" userId="2c765807-ce4c-4669-be93-88625896deff" providerId="ADAL" clId="{2D015F2B-0072-466E-A79D-98A30B53EB15}" dt="2023-01-24T15:20:36.377" v="621" actId="1076"/>
        <pc:sldMkLst>
          <pc:docMk/>
          <pc:sldMk cId="3236758698" sldId="992"/>
        </pc:sldMkLst>
        <pc:spChg chg="mod">
          <ac:chgData name="Štorková Nikol" userId="2c765807-ce4c-4669-be93-88625896deff" providerId="ADAL" clId="{2D015F2B-0072-466E-A79D-98A30B53EB15}" dt="2023-01-24T15:20:36.377" v="621" actId="1076"/>
          <ac:spMkLst>
            <pc:docMk/>
            <pc:sldMk cId="3236758698" sldId="992"/>
            <ac:spMk id="7" creationId="{CE65AB20-5881-0054-73D1-C0A8FA69F8C1}"/>
          </ac:spMkLst>
        </pc:spChg>
        <pc:picChg chg="mod">
          <ac:chgData name="Štorková Nikol" userId="2c765807-ce4c-4669-be93-88625896deff" providerId="ADAL" clId="{2D015F2B-0072-466E-A79D-98A30B53EB15}" dt="2023-01-24T15:20:31.203" v="620" actId="14861"/>
          <ac:picMkLst>
            <pc:docMk/>
            <pc:sldMk cId="3236758698" sldId="992"/>
            <ac:picMk id="3" creationId="{611ECCAB-718E-2506-0547-6D1FB42F1102}"/>
          </ac:picMkLst>
        </pc:picChg>
      </pc:sldChg>
      <pc:sldChg chg="addSp delSp modSp mod">
        <pc:chgData name="Štorková Nikol" userId="2c765807-ce4c-4669-be93-88625896deff" providerId="ADAL" clId="{2D015F2B-0072-466E-A79D-98A30B53EB15}" dt="2023-01-24T14:17:57.252" v="349" actId="108"/>
        <pc:sldMkLst>
          <pc:docMk/>
          <pc:sldMk cId="177511746" sldId="993"/>
        </pc:sldMkLst>
        <pc:picChg chg="add mod">
          <ac:chgData name="Štorková Nikol" userId="2c765807-ce4c-4669-be93-88625896deff" providerId="ADAL" clId="{2D015F2B-0072-466E-A79D-98A30B53EB15}" dt="2023-01-24T14:17:57.252" v="349" actId="108"/>
          <ac:picMkLst>
            <pc:docMk/>
            <pc:sldMk cId="177511746" sldId="993"/>
            <ac:picMk id="3" creationId="{F0C5F195-CD1C-4C32-BA85-3135A1B0136A}"/>
          </ac:picMkLst>
        </pc:picChg>
        <pc:picChg chg="del">
          <ac:chgData name="Štorková Nikol" userId="2c765807-ce4c-4669-be93-88625896deff" providerId="ADAL" clId="{2D015F2B-0072-466E-A79D-98A30B53EB15}" dt="2023-01-24T14:17:29.985" v="345" actId="478"/>
          <ac:picMkLst>
            <pc:docMk/>
            <pc:sldMk cId="177511746" sldId="993"/>
            <ac:picMk id="5" creationId="{3FC05D3F-8579-49CB-9205-BB0C898BB983}"/>
          </ac:picMkLst>
        </pc:picChg>
      </pc:sldChg>
      <pc:sldChg chg="delSp modSp mod">
        <pc:chgData name="Štorková Nikol" userId="2c765807-ce4c-4669-be93-88625896deff" providerId="ADAL" clId="{2D015F2B-0072-466E-A79D-98A30B53EB15}" dt="2023-01-24T15:27:21.870" v="669" actId="948"/>
        <pc:sldMkLst>
          <pc:docMk/>
          <pc:sldMk cId="3101228842" sldId="994"/>
        </pc:sldMkLst>
        <pc:spChg chg="mod">
          <ac:chgData name="Štorková Nikol" userId="2c765807-ce4c-4669-be93-88625896deff" providerId="ADAL" clId="{2D015F2B-0072-466E-A79D-98A30B53EB15}" dt="2023-01-24T15:23:37.387" v="627" actId="113"/>
          <ac:spMkLst>
            <pc:docMk/>
            <pc:sldMk cId="3101228842" sldId="994"/>
            <ac:spMk id="4" creationId="{0E4CAA57-E986-DB6F-0004-41963818CD6F}"/>
          </ac:spMkLst>
        </pc:spChg>
        <pc:spChg chg="mod">
          <ac:chgData name="Štorková Nikol" userId="2c765807-ce4c-4669-be93-88625896deff" providerId="ADAL" clId="{2D015F2B-0072-466E-A79D-98A30B53EB15}" dt="2023-01-24T15:27:21.870" v="669" actId="948"/>
          <ac:spMkLst>
            <pc:docMk/>
            <pc:sldMk cId="3101228842" sldId="994"/>
            <ac:spMk id="5" creationId="{D4260A84-2B5D-466D-3932-92BD2B907A53}"/>
          </ac:spMkLst>
        </pc:spChg>
        <pc:spChg chg="del mod">
          <ac:chgData name="Štorková Nikol" userId="2c765807-ce4c-4669-be93-88625896deff" providerId="ADAL" clId="{2D015F2B-0072-466E-A79D-98A30B53EB15}" dt="2023-01-24T15:24:39.636" v="640" actId="478"/>
          <ac:spMkLst>
            <pc:docMk/>
            <pc:sldMk cId="3101228842" sldId="994"/>
            <ac:spMk id="9" creationId="{F360753A-4C0A-18E1-61AC-663715CB34EE}"/>
          </ac:spMkLst>
        </pc:spChg>
        <pc:picChg chg="mod">
          <ac:chgData name="Štorková Nikol" userId="2c765807-ce4c-4669-be93-88625896deff" providerId="ADAL" clId="{2D015F2B-0072-466E-A79D-98A30B53EB15}" dt="2023-01-24T15:23:55.649" v="630" actId="1076"/>
          <ac:picMkLst>
            <pc:docMk/>
            <pc:sldMk cId="3101228842" sldId="994"/>
            <ac:picMk id="6" creationId="{64290A2D-2B48-555F-4BA7-7E661DC2A964}"/>
          </ac:picMkLst>
        </pc:picChg>
        <pc:picChg chg="mod">
          <ac:chgData name="Štorková Nikol" userId="2c765807-ce4c-4669-be93-88625896deff" providerId="ADAL" clId="{2D015F2B-0072-466E-A79D-98A30B53EB15}" dt="2023-01-24T15:24:31.681" v="638" actId="1076"/>
          <ac:picMkLst>
            <pc:docMk/>
            <pc:sldMk cId="3101228842" sldId="994"/>
            <ac:picMk id="10" creationId="{7EA16DCF-B7F2-12FC-71FE-8C4478D7FC29}"/>
          </ac:picMkLst>
        </pc:picChg>
      </pc:sldChg>
      <pc:sldChg chg="modSp mod">
        <pc:chgData name="Štorková Nikol" userId="2c765807-ce4c-4669-be93-88625896deff" providerId="ADAL" clId="{2D015F2B-0072-466E-A79D-98A30B53EB15}" dt="2023-01-24T15:31:20.145" v="678" actId="948"/>
        <pc:sldMkLst>
          <pc:docMk/>
          <pc:sldMk cId="3906792069" sldId="995"/>
        </pc:sldMkLst>
        <pc:spChg chg="mod">
          <ac:chgData name="Štorková Nikol" userId="2c765807-ce4c-4669-be93-88625896deff" providerId="ADAL" clId="{2D015F2B-0072-466E-A79D-98A30B53EB15}" dt="2023-01-24T15:26:20.252" v="661" actId="113"/>
          <ac:spMkLst>
            <pc:docMk/>
            <pc:sldMk cId="3906792069" sldId="995"/>
            <ac:spMk id="6" creationId="{E95E285D-17BE-CE4C-7136-1D29B50E1243}"/>
          </ac:spMkLst>
        </pc:spChg>
        <pc:spChg chg="mod">
          <ac:chgData name="Štorková Nikol" userId="2c765807-ce4c-4669-be93-88625896deff" providerId="ADAL" clId="{2D015F2B-0072-466E-A79D-98A30B53EB15}" dt="2023-01-24T15:31:20.145" v="678" actId="948"/>
          <ac:spMkLst>
            <pc:docMk/>
            <pc:sldMk cId="3906792069" sldId="995"/>
            <ac:spMk id="10" creationId="{E1F5F39B-1CC4-860B-3EF6-1BE1ACAFDC4C}"/>
          </ac:spMkLst>
        </pc:spChg>
        <pc:picChg chg="mod">
          <ac:chgData name="Štorková Nikol" userId="2c765807-ce4c-4669-be93-88625896deff" providerId="ADAL" clId="{2D015F2B-0072-466E-A79D-98A30B53EB15}" dt="2023-01-24T15:26:33.767" v="663" actId="1076"/>
          <ac:picMkLst>
            <pc:docMk/>
            <pc:sldMk cId="3906792069" sldId="995"/>
            <ac:picMk id="11" creationId="{E49039AD-9DC4-310F-7E99-0E1FBCB460C1}"/>
          </ac:picMkLst>
        </pc:picChg>
      </pc:sldChg>
      <pc:sldChg chg="modSp mod">
        <pc:chgData name="Štorková Nikol" userId="2c765807-ce4c-4669-be93-88625896deff" providerId="ADAL" clId="{2D015F2B-0072-466E-A79D-98A30B53EB15}" dt="2023-01-24T15:31:10.425" v="677" actId="948"/>
        <pc:sldMkLst>
          <pc:docMk/>
          <pc:sldMk cId="394417434" sldId="996"/>
        </pc:sldMkLst>
        <pc:spChg chg="mod">
          <ac:chgData name="Štorková Nikol" userId="2c765807-ce4c-4669-be93-88625896deff" providerId="ADAL" clId="{2D015F2B-0072-466E-A79D-98A30B53EB15}" dt="2023-01-24T15:26:38.793" v="664" actId="113"/>
          <ac:spMkLst>
            <pc:docMk/>
            <pc:sldMk cId="394417434" sldId="996"/>
            <ac:spMk id="5" creationId="{2FD691F3-8769-D590-A807-1DA4ED6D18A0}"/>
          </ac:spMkLst>
        </pc:spChg>
        <pc:spChg chg="mod">
          <ac:chgData name="Štorková Nikol" userId="2c765807-ce4c-4669-be93-88625896deff" providerId="ADAL" clId="{2D015F2B-0072-466E-A79D-98A30B53EB15}" dt="2023-01-24T15:31:10.425" v="677" actId="948"/>
          <ac:spMkLst>
            <pc:docMk/>
            <pc:sldMk cId="394417434" sldId="996"/>
            <ac:spMk id="6" creationId="{40AC42E4-6307-3A7A-7E96-AC6C57E1F130}"/>
          </ac:spMkLst>
        </pc:spChg>
      </pc:sldChg>
      <pc:sldChg chg="modSp mod">
        <pc:chgData name="Štorková Nikol" userId="2c765807-ce4c-4669-be93-88625896deff" providerId="ADAL" clId="{2D015F2B-0072-466E-A79D-98A30B53EB15}" dt="2023-01-24T15:32:57.483" v="679" actId="1076"/>
        <pc:sldMkLst>
          <pc:docMk/>
          <pc:sldMk cId="3548876793" sldId="997"/>
        </pc:sldMkLst>
        <pc:spChg chg="mod">
          <ac:chgData name="Štorková Nikol" userId="2c765807-ce4c-4669-be93-88625896deff" providerId="ADAL" clId="{2D015F2B-0072-466E-A79D-98A30B53EB15}" dt="2023-01-24T15:32:57.483" v="679" actId="1076"/>
          <ac:spMkLst>
            <pc:docMk/>
            <pc:sldMk cId="3548876793" sldId="997"/>
            <ac:spMk id="5" creationId="{3C100761-239A-F0C6-CCC9-56DC9B5F13EA}"/>
          </ac:spMkLst>
        </pc:spChg>
      </pc:sldChg>
      <pc:sldChg chg="del">
        <pc:chgData name="Štorková Nikol" userId="2c765807-ce4c-4669-be93-88625896deff" providerId="ADAL" clId="{2D015F2B-0072-466E-A79D-98A30B53EB15}" dt="2023-01-24T15:22:52.137" v="625" actId="47"/>
        <pc:sldMkLst>
          <pc:docMk/>
          <pc:sldMk cId="1595908806" sldId="998"/>
        </pc:sldMkLst>
      </pc:sldChg>
    </pc:docChg>
  </pc:docChgLst>
  <pc:docChgLst>
    <pc:chgData name="Boura Tomáš" userId="68e64fe6-d8e1-48ff-bb0a-23577a27d663" providerId="ADAL" clId="{9B8F5213-42FA-4537-B0CC-CAF5843B1EB0}"/>
    <pc:docChg chg="undo custSel modSld">
      <pc:chgData name="Boura Tomáš" userId="68e64fe6-d8e1-48ff-bb0a-23577a27d663" providerId="ADAL" clId="{9B8F5213-42FA-4537-B0CC-CAF5843B1EB0}" dt="2023-01-25T14:52:59.122" v="53" actId="20577"/>
      <pc:docMkLst>
        <pc:docMk/>
      </pc:docMkLst>
      <pc:sldChg chg="modSp mod">
        <pc:chgData name="Boura Tomáš" userId="68e64fe6-d8e1-48ff-bb0a-23577a27d663" providerId="ADAL" clId="{9B8F5213-42FA-4537-B0CC-CAF5843B1EB0}" dt="2023-01-25T14:44:16.525" v="20" actId="6549"/>
        <pc:sldMkLst>
          <pc:docMk/>
          <pc:sldMk cId="3101228842" sldId="994"/>
        </pc:sldMkLst>
        <pc:spChg chg="mod">
          <ac:chgData name="Boura Tomáš" userId="68e64fe6-d8e1-48ff-bb0a-23577a27d663" providerId="ADAL" clId="{9B8F5213-42FA-4537-B0CC-CAF5843B1EB0}" dt="2023-01-25T14:44:16.525" v="20" actId="6549"/>
          <ac:spMkLst>
            <pc:docMk/>
            <pc:sldMk cId="3101228842" sldId="994"/>
            <ac:spMk id="5" creationId="{D4260A84-2B5D-466D-3932-92BD2B907A53}"/>
          </ac:spMkLst>
        </pc:spChg>
      </pc:sldChg>
      <pc:sldChg chg="modSp mod">
        <pc:chgData name="Boura Tomáš" userId="68e64fe6-d8e1-48ff-bb0a-23577a27d663" providerId="ADAL" clId="{9B8F5213-42FA-4537-B0CC-CAF5843B1EB0}" dt="2023-01-25T14:52:09.966" v="28" actId="1076"/>
        <pc:sldMkLst>
          <pc:docMk/>
          <pc:sldMk cId="3906792069" sldId="995"/>
        </pc:sldMkLst>
        <pc:spChg chg="mod">
          <ac:chgData name="Boura Tomáš" userId="68e64fe6-d8e1-48ff-bb0a-23577a27d663" providerId="ADAL" clId="{9B8F5213-42FA-4537-B0CC-CAF5843B1EB0}" dt="2023-01-25T14:52:05.588" v="27" actId="6549"/>
          <ac:spMkLst>
            <pc:docMk/>
            <pc:sldMk cId="3906792069" sldId="995"/>
            <ac:spMk id="10" creationId="{E1F5F39B-1CC4-860B-3EF6-1BE1ACAFDC4C}"/>
          </ac:spMkLst>
        </pc:spChg>
        <pc:picChg chg="mod">
          <ac:chgData name="Boura Tomáš" userId="68e64fe6-d8e1-48ff-bb0a-23577a27d663" providerId="ADAL" clId="{9B8F5213-42FA-4537-B0CC-CAF5843B1EB0}" dt="2023-01-25T14:52:09.966" v="28" actId="1076"/>
          <ac:picMkLst>
            <pc:docMk/>
            <pc:sldMk cId="3906792069" sldId="995"/>
            <ac:picMk id="11" creationId="{E49039AD-9DC4-310F-7E99-0E1FBCB460C1}"/>
          </ac:picMkLst>
        </pc:picChg>
      </pc:sldChg>
      <pc:sldChg chg="modSp mod">
        <pc:chgData name="Boura Tomáš" userId="68e64fe6-d8e1-48ff-bb0a-23577a27d663" providerId="ADAL" clId="{9B8F5213-42FA-4537-B0CC-CAF5843B1EB0}" dt="2023-01-25T14:52:59.122" v="53" actId="20577"/>
        <pc:sldMkLst>
          <pc:docMk/>
          <pc:sldMk cId="394417434" sldId="996"/>
        </pc:sldMkLst>
        <pc:spChg chg="mod">
          <ac:chgData name="Boura Tomáš" userId="68e64fe6-d8e1-48ff-bb0a-23577a27d663" providerId="ADAL" clId="{9B8F5213-42FA-4537-B0CC-CAF5843B1EB0}" dt="2023-01-25T14:52:59.122" v="53" actId="20577"/>
          <ac:spMkLst>
            <pc:docMk/>
            <pc:sldMk cId="394417434" sldId="996"/>
            <ac:spMk id="6" creationId="{40AC42E4-6307-3A7A-7E96-AC6C57E1F130}"/>
          </ac:spMkLst>
        </pc:spChg>
      </pc:sldChg>
    </pc:docChg>
  </pc:docChgLst>
  <pc:docChgLst>
    <pc:chgData name="Boura Tomáš" userId="S::tomas.boura@t-mobile.cz::68e64fe6-d8e1-48ff-bb0a-23577a27d663" providerId="AD" clId="Web-{D0419574-586C-454F-A82B-1B0682A7A5F5}"/>
    <pc:docChg chg="delSld modSld">
      <pc:chgData name="Boura Tomáš" userId="S::tomas.boura@t-mobile.cz::68e64fe6-d8e1-48ff-bb0a-23577a27d663" providerId="AD" clId="Web-{D0419574-586C-454F-A82B-1B0682A7A5F5}" dt="2023-01-25T14:42:37.207" v="3" actId="20577"/>
      <pc:docMkLst>
        <pc:docMk/>
      </pc:docMkLst>
      <pc:sldChg chg="del">
        <pc:chgData name="Boura Tomáš" userId="S::tomas.boura@t-mobile.cz::68e64fe6-d8e1-48ff-bb0a-23577a27d663" providerId="AD" clId="Web-{D0419574-586C-454F-A82B-1B0682A7A5F5}" dt="2023-01-25T14:42:12.534" v="0"/>
        <pc:sldMkLst>
          <pc:docMk/>
          <pc:sldMk cId="2756640198" sldId="952"/>
        </pc:sldMkLst>
      </pc:sldChg>
      <pc:sldChg chg="modSp">
        <pc:chgData name="Boura Tomáš" userId="S::tomas.boura@t-mobile.cz::68e64fe6-d8e1-48ff-bb0a-23577a27d663" providerId="AD" clId="Web-{D0419574-586C-454F-A82B-1B0682A7A5F5}" dt="2023-01-25T14:42:37.207" v="3" actId="20577"/>
        <pc:sldMkLst>
          <pc:docMk/>
          <pc:sldMk cId="3101228842" sldId="994"/>
        </pc:sldMkLst>
        <pc:spChg chg="mod">
          <ac:chgData name="Boura Tomáš" userId="S::tomas.boura@t-mobile.cz::68e64fe6-d8e1-48ff-bb0a-23577a27d663" providerId="AD" clId="Web-{D0419574-586C-454F-A82B-1B0682A7A5F5}" dt="2023-01-25T14:42:37.207" v="3" actId="20577"/>
          <ac:spMkLst>
            <pc:docMk/>
            <pc:sldMk cId="3101228842" sldId="994"/>
            <ac:spMk id="5" creationId="{D4260A84-2B5D-466D-3932-92BD2B907A53}"/>
          </ac:spMkLst>
        </pc:spChg>
      </pc:sldChg>
    </pc:docChg>
  </pc:docChgLst>
  <pc:docChgLst>
    <pc:chgData name="Toman Martin" userId="S::martin.toman@t-mobile.cz::c17808d2-362e-4a0b-9f2d-b3ddeb6a60e0" providerId="AD" clId="Web-{1F47512D-19AA-41FC-81B7-9345564ACAE2}"/>
    <pc:docChg chg="modSld">
      <pc:chgData name="Toman Martin" userId="S::martin.toman@t-mobile.cz::c17808d2-362e-4a0b-9f2d-b3ddeb6a60e0" providerId="AD" clId="Web-{1F47512D-19AA-41FC-81B7-9345564ACAE2}" dt="2023-01-25T08:56:34.004" v="63" actId="20577"/>
      <pc:docMkLst>
        <pc:docMk/>
      </pc:docMkLst>
      <pc:sldChg chg="modSp">
        <pc:chgData name="Toman Martin" userId="S::martin.toman@t-mobile.cz::c17808d2-362e-4a0b-9f2d-b3ddeb6a60e0" providerId="AD" clId="Web-{1F47512D-19AA-41FC-81B7-9345564ACAE2}" dt="2023-01-25T08:56:34.004" v="63" actId="20577"/>
        <pc:sldMkLst>
          <pc:docMk/>
          <pc:sldMk cId="3731233985" sldId="971"/>
        </pc:sldMkLst>
        <pc:spChg chg="mod">
          <ac:chgData name="Toman Martin" userId="S::martin.toman@t-mobile.cz::c17808d2-362e-4a0b-9f2d-b3ddeb6a60e0" providerId="AD" clId="Web-{1F47512D-19AA-41FC-81B7-9345564ACAE2}" dt="2023-01-25T08:56:34.004" v="63" actId="20577"/>
          <ac:spMkLst>
            <pc:docMk/>
            <pc:sldMk cId="3731233985" sldId="971"/>
            <ac:spMk id="7" creationId="{CE65AB20-5881-0054-73D1-C0A8FA69F8C1}"/>
          </ac:spMkLst>
        </pc:spChg>
      </pc:sldChg>
    </pc:docChg>
  </pc:docChgLst>
  <pc:docChgLst>
    <pc:chgData name="Toman Martin" userId="S::martin.toman@t-mobile.cz::c17808d2-362e-4a0b-9f2d-b3ddeb6a60e0" providerId="AD" clId="Web-{7FB10871-8041-444F-9E1E-286053DA3D72}"/>
    <pc:docChg chg="modSld">
      <pc:chgData name="Toman Martin" userId="S::martin.toman@t-mobile.cz::c17808d2-362e-4a0b-9f2d-b3ddeb6a60e0" providerId="AD" clId="Web-{7FB10871-8041-444F-9E1E-286053DA3D72}" dt="2023-01-25T06:56:22.573" v="1"/>
      <pc:docMkLst>
        <pc:docMk/>
      </pc:docMkLst>
      <pc:sldChg chg="modSp">
        <pc:chgData name="Toman Martin" userId="S::martin.toman@t-mobile.cz::c17808d2-362e-4a0b-9f2d-b3ddeb6a60e0" providerId="AD" clId="Web-{7FB10871-8041-444F-9E1E-286053DA3D72}" dt="2023-01-25T06:56:22.573" v="1"/>
        <pc:sldMkLst>
          <pc:docMk/>
          <pc:sldMk cId="2502116312" sldId="974"/>
        </pc:sldMkLst>
        <pc:spChg chg="mod">
          <ac:chgData name="Toman Martin" userId="S::martin.toman@t-mobile.cz::c17808d2-362e-4a0b-9f2d-b3ddeb6a60e0" providerId="AD" clId="Web-{7FB10871-8041-444F-9E1E-286053DA3D72}" dt="2023-01-25T06:56:03.713" v="0" actId="1076"/>
          <ac:spMkLst>
            <pc:docMk/>
            <pc:sldMk cId="2502116312" sldId="974"/>
            <ac:spMk id="4" creationId="{1021FE82-A39D-4106-9302-7478145AA850}"/>
          </ac:spMkLst>
        </pc:spChg>
        <pc:spChg chg="ord">
          <ac:chgData name="Toman Martin" userId="S::martin.toman@t-mobile.cz::c17808d2-362e-4a0b-9f2d-b3ddeb6a60e0" providerId="AD" clId="Web-{7FB10871-8041-444F-9E1E-286053DA3D72}" dt="2023-01-25T06:56:22.573" v="1"/>
          <ac:spMkLst>
            <pc:docMk/>
            <pc:sldMk cId="2502116312" sldId="974"/>
            <ac:spMk id="6" creationId="{3413E9D0-FDE3-471A-BC42-6812FE2979FA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8D697A-DBA8-45EA-AF2E-3234BF1000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0DD2C8-FF87-4A10-B565-AB292338F0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FA7598-ABB9-4C2A-9EFF-756600967A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EE51B-EB45-4CE5-B7EF-E55A36154F54}" type="datetimeFigureOut">
              <a:rPr lang="cs-CZ" smtClean="0"/>
              <a:t>25.01.2023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74470C-672A-4037-B70F-8B194543BE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E786F4-A013-46CC-A75B-DD66D0623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554EB-D3A9-4355-99FC-5F1B6F26FFD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55155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A2453-A05E-4BB1-838F-6709EA45E3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75ED460-9CC1-4292-906D-D274A08B69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663EB-BA40-41B1-8925-3D2B9CD571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EE51B-EB45-4CE5-B7EF-E55A36154F54}" type="datetimeFigureOut">
              <a:rPr lang="cs-CZ" smtClean="0"/>
              <a:t>25.01.2023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F3960D-D501-43B8-AC59-4B0DF3D85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809B80-762A-4146-8A4D-FED8F9C08F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554EB-D3A9-4355-99FC-5F1B6F26FFD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30858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D329B5A-4173-4FE1-A535-CD9C5C067E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F5E9BB6-678D-4E7E-B411-FD13E33A8F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DCCEB8-9B5C-4B49-B1E4-1E5D76D0AC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EE51B-EB45-4CE5-B7EF-E55A36154F54}" type="datetimeFigureOut">
              <a:rPr lang="cs-CZ" smtClean="0"/>
              <a:t>25.01.2023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EAFC86-01D6-42A7-82A2-80A7694D6F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73FC3E-4EC9-4C30-93A4-66C8B7068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554EB-D3A9-4355-99FC-5F1B6F26FFD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010562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7330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580259E-9E75-E476-8892-24D8D593CE2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/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93B8EB1-230A-9145-E2EC-895B4E216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2044202"/>
            <a:ext cx="5400624" cy="13295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presentation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BF6B344-E92C-CE73-B282-54A548C98F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376" y="5830322"/>
            <a:ext cx="2498255" cy="498597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B76D58C-1DC2-0E9C-EBDA-21D7C36A82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3573000"/>
            <a:ext cx="5400541" cy="319511"/>
          </a:xfrm>
        </p:spPr>
        <p:txBody>
          <a:bodyPr wrap="square">
            <a:spAutoFit/>
          </a:bodyPr>
          <a:lstStyle>
            <a:lvl1pPr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| Author | Place | Dat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F15D89B4-FCC9-9AFD-A8F3-C8A66289EEB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1252330 w 6096000"/>
              <a:gd name="connsiteY0" fmla="*/ 0 h 6858000"/>
              <a:gd name="connsiteX1" fmla="*/ 1381078 w 6096000"/>
              <a:gd name="connsiteY1" fmla="*/ 0 h 6858000"/>
              <a:gd name="connsiteX2" fmla="*/ 2740086 w 6096000"/>
              <a:gd name="connsiteY2" fmla="*/ 0 h 6858000"/>
              <a:gd name="connsiteX3" fmla="*/ 6096000 w 6096000"/>
              <a:gd name="connsiteY3" fmla="*/ 0 h 6858000"/>
              <a:gd name="connsiteX4" fmla="*/ 6096000 w 6096000"/>
              <a:gd name="connsiteY4" fmla="*/ 6858000 h 6858000"/>
              <a:gd name="connsiteX5" fmla="*/ 1487757 w 6096000"/>
              <a:gd name="connsiteY5" fmla="*/ 6858000 h 6858000"/>
              <a:gd name="connsiteX6" fmla="*/ 1381078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1252330" y="0"/>
                </a:moveTo>
                <a:lnTo>
                  <a:pt x="1381078" y="0"/>
                </a:lnTo>
                <a:lnTo>
                  <a:pt x="2740086" y="0"/>
                </a:lnTo>
                <a:lnTo>
                  <a:pt x="6096000" y="0"/>
                </a:lnTo>
                <a:lnTo>
                  <a:pt x="6096000" y="6858000"/>
                </a:lnTo>
                <a:lnTo>
                  <a:pt x="1487757" y="6858000"/>
                </a:lnTo>
                <a:lnTo>
                  <a:pt x="138107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0938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78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93B8EB1-230A-9145-E2EC-895B4E216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11233248" cy="4985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B1474BAC-8529-96F5-6576-2A169B968600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1629000"/>
            <a:ext cx="11233248" cy="4463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b="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C9F4DE2-2EE2-80CB-BA1B-1257653CB6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713" y="6545764"/>
            <a:ext cx="7059612" cy="158750"/>
          </a:xfrm>
        </p:spPr>
        <p:txBody>
          <a:bodyPr anchor="ctr"/>
          <a:lstStyle>
            <a:lvl1pPr>
              <a:defRPr sz="900">
                <a:latin typeface="+mn-lt"/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2" name="Foliennummernplatzhalter 7">
            <a:extLst>
              <a:ext uri="{FF2B5EF4-FFF2-40B4-BE49-F238E27FC236}">
                <a16:creationId xmlns:a16="http://schemas.microsoft.com/office/drawing/2014/main" id="{4D2C8ACC-9FEE-88F7-DA01-8B032502D0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1460624" y="6535237"/>
            <a:ext cx="252000" cy="169277"/>
          </a:xfrm>
        </p:spPr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8016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697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93B8EB1-230A-9145-E2EC-895B4E216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11233248" cy="4985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B1474BAC-8529-96F5-6576-2A169B968600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226821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b="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5155529-ACF1-4006-3BC7-0E1677B55EB4}"/>
              </a:ext>
            </a:extLst>
          </p:cNvPr>
          <p:cNvSpPr>
            <a:spLocks noGrp="1"/>
          </p:cNvSpPr>
          <p:nvPr>
            <p:ph idx="12" hasCustomPrompt="1"/>
          </p:nvPr>
        </p:nvSpPr>
        <p:spPr bwMode="gray">
          <a:xfrm>
            <a:off x="6384000" y="226821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b="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3106AF0E-20DE-9798-FC6E-607A49E954E6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79376" y="1845000"/>
            <a:ext cx="5328624" cy="3195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1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605E83A-8830-C69E-7B6D-A38E7A042F6F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6384000" y="1845000"/>
            <a:ext cx="5328624" cy="3195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2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C9F4DE2-2EE2-80CB-BA1B-1257653CB6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713" y="6545764"/>
            <a:ext cx="7059612" cy="158750"/>
          </a:xfrm>
        </p:spPr>
        <p:txBody>
          <a:bodyPr anchor="ctr"/>
          <a:lstStyle>
            <a:lvl1pPr>
              <a:defRPr sz="900">
                <a:latin typeface="+mn-lt"/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2" name="Foliennummernplatzhalter 7">
            <a:extLst>
              <a:ext uri="{FF2B5EF4-FFF2-40B4-BE49-F238E27FC236}">
                <a16:creationId xmlns:a16="http://schemas.microsoft.com/office/drawing/2014/main" id="{4D2C8ACC-9FEE-88F7-DA01-8B032502D0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1460624" y="6535237"/>
            <a:ext cx="252000" cy="169277"/>
          </a:xfrm>
        </p:spPr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849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6923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93B8EB1-230A-9145-E2EC-895B4E216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11233248" cy="4985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B1474BAC-8529-96F5-6576-2A169B968600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2268216"/>
            <a:ext cx="3520440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Text 1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3106AF0E-20DE-9798-FC6E-607A49E954E6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79376" y="1845000"/>
            <a:ext cx="3520440" cy="3195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1</a:t>
            </a:r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A95DEAE9-969F-57A9-CFAB-2094EC414F7A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4335780" y="2268216"/>
            <a:ext cx="3520440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Text 2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71C89FD0-DD1F-5949-7F5C-57E130B00D96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4335780" y="1845000"/>
            <a:ext cx="3520440" cy="3195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2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BE80FCD7-CCB0-23DB-0F6F-DC55FA635D83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8192184" y="2268216"/>
            <a:ext cx="3520440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Text 3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FFB64F95-CA49-09CB-94C4-E483F02ECCFA}"/>
              </a:ext>
            </a:extLst>
          </p:cNvPr>
          <p:cNvSpPr>
            <a:spLocks noGrp="1"/>
          </p:cNvSpPr>
          <p:nvPr>
            <p:ph idx="17" hasCustomPrompt="1"/>
          </p:nvPr>
        </p:nvSpPr>
        <p:spPr bwMode="gray">
          <a:xfrm>
            <a:off x="8192184" y="1845000"/>
            <a:ext cx="3520440" cy="3195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3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52B233B-DBE4-DD2B-5832-B05936C033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713" y="6545764"/>
            <a:ext cx="7059612" cy="158750"/>
          </a:xfrm>
        </p:spPr>
        <p:txBody>
          <a:bodyPr anchor="ctr"/>
          <a:lstStyle>
            <a:lvl1pPr>
              <a:defRPr sz="900">
                <a:latin typeface="+mn-lt"/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42520347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2099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93B8EB1-230A-9145-E2EC-895B4E216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11233248" cy="4985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B1474BAC-8529-96F5-6576-2A169B968600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2864551"/>
            <a:ext cx="2560320" cy="32284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Text 1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3106AF0E-20DE-9798-FC6E-607A49E954E6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79376" y="2441334"/>
            <a:ext cx="2560320" cy="3195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1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87E8473-AAAA-156B-8291-4D9F8D899BD2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3370352" y="2864551"/>
            <a:ext cx="2560320" cy="32284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Text 2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650614BF-2C92-3F79-AD21-F8E4967BCF6F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3370352" y="2441334"/>
            <a:ext cx="2560320" cy="3195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2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660F8315-940F-7FC0-CD34-975F01F65F4E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6261328" y="2864551"/>
            <a:ext cx="2560320" cy="32284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Text 3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E7251CA6-43E7-7701-6CA2-EEBEB50B081D}"/>
              </a:ext>
            </a:extLst>
          </p:cNvPr>
          <p:cNvSpPr>
            <a:spLocks noGrp="1"/>
          </p:cNvSpPr>
          <p:nvPr>
            <p:ph idx="17" hasCustomPrompt="1"/>
          </p:nvPr>
        </p:nvSpPr>
        <p:spPr bwMode="gray">
          <a:xfrm>
            <a:off x="6261328" y="2441334"/>
            <a:ext cx="2560320" cy="3195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3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E1C1218-646C-E563-07E9-096CDC2F79A9}"/>
              </a:ext>
            </a:extLst>
          </p:cNvPr>
          <p:cNvSpPr>
            <a:spLocks noGrp="1"/>
          </p:cNvSpPr>
          <p:nvPr>
            <p:ph idx="18" hasCustomPrompt="1"/>
          </p:nvPr>
        </p:nvSpPr>
        <p:spPr bwMode="gray">
          <a:xfrm>
            <a:off x="9152304" y="2864551"/>
            <a:ext cx="2560320" cy="32284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Text 4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96AB960B-E56F-DE4A-00AD-29CCAC5239BC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gray">
          <a:xfrm>
            <a:off x="9152304" y="2441334"/>
            <a:ext cx="2560320" cy="3195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4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1C13CEB1-AB41-F89F-51FA-C7DEDD5C9855}"/>
              </a:ext>
            </a:extLst>
          </p:cNvPr>
          <p:cNvSpPr>
            <a:spLocks noGrp="1"/>
          </p:cNvSpPr>
          <p:nvPr>
            <p:ph idx="20" hasCustomPrompt="1"/>
          </p:nvPr>
        </p:nvSpPr>
        <p:spPr bwMode="gray">
          <a:xfrm>
            <a:off x="479376" y="1774084"/>
            <a:ext cx="2560320" cy="56791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BFA26E4B-21FA-ADD6-DEF8-8D27398F6023}"/>
              </a:ext>
            </a:extLst>
          </p:cNvPr>
          <p:cNvSpPr>
            <a:spLocks noGrp="1"/>
          </p:cNvSpPr>
          <p:nvPr>
            <p:ph idx="21" hasCustomPrompt="1"/>
          </p:nvPr>
        </p:nvSpPr>
        <p:spPr bwMode="gray">
          <a:xfrm>
            <a:off x="3370352" y="1774084"/>
            <a:ext cx="2560320" cy="56791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F77B552-5B72-A0C2-8784-5DC83B202366}"/>
              </a:ext>
            </a:extLst>
          </p:cNvPr>
          <p:cNvSpPr>
            <a:spLocks noGrp="1"/>
          </p:cNvSpPr>
          <p:nvPr>
            <p:ph idx="22" hasCustomPrompt="1"/>
          </p:nvPr>
        </p:nvSpPr>
        <p:spPr bwMode="gray">
          <a:xfrm>
            <a:off x="6261328" y="1774084"/>
            <a:ext cx="2560320" cy="56791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B8AD4701-2410-AE03-B476-6051453C9FBA}"/>
              </a:ext>
            </a:extLst>
          </p:cNvPr>
          <p:cNvSpPr>
            <a:spLocks noGrp="1"/>
          </p:cNvSpPr>
          <p:nvPr>
            <p:ph idx="23" hasCustomPrompt="1"/>
          </p:nvPr>
        </p:nvSpPr>
        <p:spPr bwMode="gray">
          <a:xfrm>
            <a:off x="9152304" y="1774084"/>
            <a:ext cx="2560320" cy="56791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D97E8237-9C6F-E9EA-7CC0-B4B4421BE8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0713" y="6545764"/>
            <a:ext cx="7059612" cy="158750"/>
          </a:xfrm>
        </p:spPr>
        <p:txBody>
          <a:bodyPr anchor="ctr"/>
          <a:lstStyle>
            <a:lvl1pPr>
              <a:defRPr sz="900">
                <a:latin typeface="+mn-lt"/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13686101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1060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93B8EB1-230A-9145-E2EC-895B4E216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11233248" cy="4985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B1474BAC-8529-96F5-6576-2A169B968600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4017202"/>
            <a:ext cx="3383280" cy="16191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Text 1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3106AF0E-20DE-9798-FC6E-607A49E954E6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79376" y="1711702"/>
            <a:ext cx="3383280" cy="3195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icture headline 1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E87E8473-AAAA-156B-8291-4D9F8D899BD2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4404360" y="4017202"/>
            <a:ext cx="3383280" cy="16191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Text 2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650614BF-2C92-3F79-AD21-F8E4967BCF6F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4404360" y="1711702"/>
            <a:ext cx="3383280" cy="3195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icture headline 2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660F8315-940F-7FC0-CD34-975F01F65F4E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8329344" y="4017202"/>
            <a:ext cx="3383280" cy="16191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Text 3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E7251CA6-43E7-7701-6CA2-EEBEB50B081D}"/>
              </a:ext>
            </a:extLst>
          </p:cNvPr>
          <p:cNvSpPr>
            <a:spLocks noGrp="1"/>
          </p:cNvSpPr>
          <p:nvPr>
            <p:ph idx="17" hasCustomPrompt="1"/>
          </p:nvPr>
        </p:nvSpPr>
        <p:spPr bwMode="gray">
          <a:xfrm>
            <a:off x="8329344" y="1711702"/>
            <a:ext cx="3383280" cy="3195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icture headline 3</a:t>
            </a:r>
          </a:p>
        </p:txBody>
      </p:sp>
      <p:sp>
        <p:nvSpPr>
          <p:cNvPr id="27" name="Text Placeholder 15">
            <a:extLst>
              <a:ext uri="{FF2B5EF4-FFF2-40B4-BE49-F238E27FC236}">
                <a16:creationId xmlns:a16="http://schemas.microsoft.com/office/drawing/2014/main" id="{D97E8237-9C6F-E9EA-7CC0-B4B4421BE8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0713" y="6545764"/>
            <a:ext cx="7059612" cy="158750"/>
          </a:xfrm>
        </p:spPr>
        <p:txBody>
          <a:bodyPr anchor="ctr"/>
          <a:lstStyle>
            <a:lvl1pPr>
              <a:defRPr sz="900">
                <a:latin typeface="+mn-lt"/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D41D3D3-A79F-66C9-2C32-5D5E28D92047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79425" y="2214582"/>
            <a:ext cx="3383280" cy="1619250"/>
          </a:xfrm>
        </p:spPr>
        <p:txBody>
          <a:bodyPr/>
          <a:lstStyle>
            <a:lvl1pPr>
              <a:defRPr b="1"/>
            </a:lvl1pPr>
          </a:lstStyle>
          <a:p>
            <a:endParaRPr lang="en-US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D901090C-E2E4-12AA-F703-3266630640B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404385" y="2214582"/>
            <a:ext cx="3383280" cy="1619250"/>
          </a:xfrm>
        </p:spPr>
        <p:txBody>
          <a:bodyPr/>
          <a:lstStyle>
            <a:lvl1pPr>
              <a:defRPr b="1"/>
            </a:lvl1pPr>
          </a:lstStyle>
          <a:p>
            <a:endParaRPr lang="en-US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9F09E73F-774A-68B4-D893-3291566943B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329344" y="2214582"/>
            <a:ext cx="3383280" cy="1619250"/>
          </a:xfrm>
        </p:spPr>
        <p:txBody>
          <a:bodyPr/>
          <a:lstStyle>
            <a:lvl1pPr>
              <a:defRPr b="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8530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9894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F7BB59-19C8-5D0C-1E6A-53FDCC469F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376" y="1557338"/>
            <a:ext cx="2560638" cy="4535487"/>
          </a:xfrm>
          <a:prstGeom prst="roundRect">
            <a:avLst>
              <a:gd name="adj" fmla="val 7031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91440" tIns="91440" rIns="91440" bIns="91440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1</a:t>
            </a:r>
          </a:p>
          <a:p>
            <a:pPr lvl="0"/>
            <a:r>
              <a:rPr lang="en-US"/>
              <a:t>(max 2 lines)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93B8EB1-230A-9145-E2EC-895B4E216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11233248" cy="4985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B1474BAC-8529-96F5-6576-2A169B968600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635159" y="2492999"/>
            <a:ext cx="2249072" cy="3384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Text 1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0E45DC2-908E-0DC3-A49F-969028FEFD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70246" y="1557338"/>
            <a:ext cx="2560638" cy="4535487"/>
          </a:xfrm>
          <a:prstGeom prst="roundRect">
            <a:avLst>
              <a:gd name="adj" fmla="val 7031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91440" tIns="91440" rIns="91440" bIns="91440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2</a:t>
            </a:r>
          </a:p>
          <a:p>
            <a:pPr lvl="0"/>
            <a:r>
              <a:rPr lang="en-US"/>
              <a:t>(max 2 lines)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9C0E6820-D4D6-8397-4D26-83B799E40E47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3526029" y="2492999"/>
            <a:ext cx="2249072" cy="3384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Text 1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F0C8ED-B933-AE61-0FCB-87088E5883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61116" y="1557338"/>
            <a:ext cx="2560638" cy="4535487"/>
          </a:xfrm>
          <a:prstGeom prst="roundRect">
            <a:avLst>
              <a:gd name="adj" fmla="val 7031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lIns="91440" tIns="91440" rIns="91440" bIns="91440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 3</a:t>
            </a:r>
          </a:p>
          <a:p>
            <a:pPr lvl="0"/>
            <a:r>
              <a:rPr lang="en-US"/>
              <a:t>(max 2 lines)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E806ADD1-2453-E97C-8E2A-715698AD178F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6416899" y="2492999"/>
            <a:ext cx="2249072" cy="3384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Text 1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80AD6C50-A255-4012-694D-54D4B7F185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51986" y="1557338"/>
            <a:ext cx="2560638" cy="4535487"/>
          </a:xfrm>
          <a:prstGeom prst="roundRect">
            <a:avLst>
              <a:gd name="adj" fmla="val 7031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91440" tIns="91440" rIns="91440" bIns="91440"/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 4</a:t>
            </a:r>
          </a:p>
          <a:p>
            <a:pPr lvl="0"/>
            <a:r>
              <a:rPr lang="en-US"/>
              <a:t>(max 2 lines)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2130964-9DAC-0CD0-1E20-A8C12775A459}"/>
              </a:ext>
            </a:extLst>
          </p:cNvPr>
          <p:cNvSpPr>
            <a:spLocks noGrp="1"/>
          </p:cNvSpPr>
          <p:nvPr>
            <p:ph idx="18" hasCustomPrompt="1"/>
          </p:nvPr>
        </p:nvSpPr>
        <p:spPr bwMode="gray">
          <a:xfrm>
            <a:off x="9307769" y="2492999"/>
            <a:ext cx="2249072" cy="3384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Text 1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37807D6C-9BC8-F361-1F9A-B8FB67D1A57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713" y="6545764"/>
            <a:ext cx="7059612" cy="158750"/>
          </a:xfrm>
        </p:spPr>
        <p:txBody>
          <a:bodyPr anchor="ctr"/>
          <a:lstStyle>
            <a:lvl1pPr>
              <a:defRPr sz="900">
                <a:latin typeface="+mn-lt"/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37032934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5432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93B8EB1-230A-9145-E2EC-895B4E216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11233248" cy="4985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37807D6C-9BC8-F361-1F9A-B8FB67D1A57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713" y="6545764"/>
            <a:ext cx="7059612" cy="158750"/>
          </a:xfrm>
        </p:spPr>
        <p:txBody>
          <a:bodyPr anchor="ctr"/>
          <a:lstStyle>
            <a:lvl1pPr>
              <a:defRPr sz="900">
                <a:latin typeface="+mn-lt"/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55D6990E-1664-83A7-3C7F-6A40940BCAF7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226821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b="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AC0B3BF9-EC5C-E7BB-CBAF-7DE801036B53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79376" y="1845000"/>
            <a:ext cx="5328624" cy="3195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5" name="Chart Placeholder 14">
            <a:extLst>
              <a:ext uri="{FF2B5EF4-FFF2-40B4-BE49-F238E27FC236}">
                <a16:creationId xmlns:a16="http://schemas.microsoft.com/office/drawing/2014/main" id="{212A9F7B-04E5-EB99-2489-029BEE545D9D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383338" y="1844675"/>
            <a:ext cx="5329237" cy="42481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9708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E3107-149A-4F5F-9417-B0C7EFE267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1805D3-1356-45E3-9A46-3E7799B656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196CBE-6E39-45AB-8418-CD3F31700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EE51B-EB45-4CE5-B7EF-E55A36154F54}" type="datetimeFigureOut">
              <a:rPr lang="cs-CZ" smtClean="0"/>
              <a:t>25.01.2023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348706-C965-4AA6-A66D-956E58AE73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80C2F7-D935-4489-83EE-2E49FB1FC5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554EB-D3A9-4355-99FC-5F1B6F26FFD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876846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8627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9F934CB7-FE78-9335-D60B-6DC9D9A9E335}"/>
              </a:ext>
            </a:extLst>
          </p:cNvPr>
          <p:cNvSpPr>
            <a:spLocks noGrp="1"/>
          </p:cNvSpPr>
          <p:nvPr>
            <p:ph type="tbl" sz="quarter" idx="21"/>
          </p:nvPr>
        </p:nvSpPr>
        <p:spPr>
          <a:xfrm>
            <a:off x="4079875" y="1844675"/>
            <a:ext cx="7632700" cy="42481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93B8EB1-230A-9145-E2EC-895B4E216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11233248" cy="4985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37807D6C-9BC8-F361-1F9A-B8FB67D1A57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713" y="6545764"/>
            <a:ext cx="7059612" cy="158750"/>
          </a:xfrm>
        </p:spPr>
        <p:txBody>
          <a:bodyPr anchor="ctr"/>
          <a:lstStyle>
            <a:lvl1pPr>
              <a:defRPr sz="900">
                <a:latin typeface="+mn-lt"/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55D6990E-1664-83A7-3C7F-6A40940BCAF7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2268216"/>
            <a:ext cx="3240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b="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AC0B3BF9-EC5C-E7BB-CBAF-7DE801036B53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79376" y="1845000"/>
            <a:ext cx="3240624" cy="3195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able title</a:t>
            </a:r>
          </a:p>
        </p:txBody>
      </p:sp>
    </p:spTree>
    <p:extLst>
      <p:ext uri="{BB962C8B-B14F-4D97-AF65-F5344CB8AC3E}">
        <p14:creationId xmlns:p14="http://schemas.microsoft.com/office/powerpoint/2010/main" val="11687430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862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03CFAB5-4403-4D0D-B11A-024BAA76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93B8EB1-230A-9145-E2EC-895B4E216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5616624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37807D6C-9BC8-F361-1F9A-B8FB67D1A57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713" y="6545764"/>
            <a:ext cx="2935287" cy="158750"/>
          </a:xfrm>
        </p:spPr>
        <p:txBody>
          <a:bodyPr anchor="ctr"/>
          <a:lstStyle>
            <a:lvl1pPr>
              <a:defRPr sz="900">
                <a:latin typeface="+mn-lt"/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55D6990E-1664-83A7-3C7F-6A40940BCAF7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79376" y="2268216"/>
            <a:ext cx="5616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b="0">
                <a:latin typeface="+mn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AC0B3BF9-EC5C-E7BB-CBAF-7DE801036B53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gray">
          <a:xfrm>
            <a:off x="479376" y="1845000"/>
            <a:ext cx="5616624" cy="3195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B93D12-111A-97BB-9E9E-0BEF552463C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575377" y="0"/>
            <a:ext cx="5616623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2380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C005D7A-85A8-4046-8C54-F843A7C2C3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2982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220F4B7-7419-2095-AE64-86CCB0364C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797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220F4B7-7419-2095-AE64-86CCB0364C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08834F5-8BD1-47C8-92D0-13895D50405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BF029B9F-4187-3EFD-8CB1-50BBE93425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11233248" cy="4985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70DE35D4-D114-2DE6-4911-9428D38079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713" y="6545764"/>
            <a:ext cx="7059612" cy="158750"/>
          </a:xfrm>
        </p:spPr>
        <p:txBody>
          <a:bodyPr anchor="ctr"/>
          <a:lstStyle>
            <a:lvl1pPr>
              <a:defRPr sz="900">
                <a:latin typeface="+mn-lt"/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2660702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6809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E2965633-D5A6-A92A-4360-B51464D08EC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BF6B344-E92C-CE73-B282-54A548C98F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376" y="5830322"/>
            <a:ext cx="2498255" cy="498597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B76D58C-1DC2-0E9C-EBDA-21D7C36A82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28000" y="1167309"/>
            <a:ext cx="4824000" cy="4320606"/>
          </a:xfrm>
        </p:spPr>
        <p:txBody>
          <a:bodyPr wrap="square">
            <a:spAutoFit/>
          </a:bodyPr>
          <a:lstStyle>
            <a:lvl1pPr>
              <a:spcAft>
                <a:spcPts val="1200"/>
              </a:spcAft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hapter topic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C0333402-E1E7-5D7D-8DB6-87F62E1F5D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376" y="1167309"/>
            <a:ext cx="432624" cy="4320606"/>
          </a:xfrm>
        </p:spPr>
        <p:txBody>
          <a:bodyPr>
            <a:spAutoFit/>
          </a:bodyPr>
          <a:lstStyle>
            <a:lvl1pPr>
              <a:spcAft>
                <a:spcPts val="1200"/>
              </a:spcAft>
              <a:defRPr sz="1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  <a:p>
            <a:pPr lvl="0"/>
            <a:r>
              <a:rPr lang="en-US"/>
              <a:t>06</a:t>
            </a:r>
          </a:p>
          <a:p>
            <a:pPr lvl="0"/>
            <a:r>
              <a:rPr lang="en-US"/>
              <a:t>07</a:t>
            </a:r>
          </a:p>
          <a:p>
            <a:pPr lvl="0"/>
            <a:r>
              <a:rPr lang="en-US"/>
              <a:t>08</a:t>
            </a:r>
          </a:p>
          <a:p>
            <a:pPr lvl="0"/>
            <a:r>
              <a:rPr lang="en-US"/>
              <a:t>09</a:t>
            </a:r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63C0F5A-1AD8-C4AB-E81D-71022C8E48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5472624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61261D0-2DC0-AA50-BC8A-C9EF71DD61F9}"/>
              </a:ext>
            </a:extLst>
          </p:cNvPr>
          <p:cNvSpPr/>
          <p:nvPr userDrawn="1"/>
        </p:nvSpPr>
        <p:spPr>
          <a:xfrm>
            <a:off x="6096000" y="3176"/>
            <a:ext cx="6096000" cy="6854824"/>
          </a:xfrm>
          <a:custGeom>
            <a:avLst/>
            <a:gdLst>
              <a:gd name="connsiteX0" fmla="*/ 1251750 w 6096000"/>
              <a:gd name="connsiteY0" fmla="*/ 0 h 6854824"/>
              <a:gd name="connsiteX1" fmla="*/ 6096000 w 6096000"/>
              <a:gd name="connsiteY1" fmla="*/ 0 h 6854824"/>
              <a:gd name="connsiteX2" fmla="*/ 6096000 w 6096000"/>
              <a:gd name="connsiteY2" fmla="*/ 6854824 h 6854824"/>
              <a:gd name="connsiteX3" fmla="*/ 1487757 w 6096000"/>
              <a:gd name="connsiteY3" fmla="*/ 6854824 h 6854824"/>
              <a:gd name="connsiteX4" fmla="*/ 1381078 w 6096000"/>
              <a:gd name="connsiteY4" fmla="*/ 6854824 h 6854824"/>
              <a:gd name="connsiteX5" fmla="*/ 0 w 6096000"/>
              <a:gd name="connsiteY5" fmla="*/ 6854824 h 6854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4824">
                <a:moveTo>
                  <a:pt x="1251750" y="0"/>
                </a:moveTo>
                <a:lnTo>
                  <a:pt x="6096000" y="0"/>
                </a:lnTo>
                <a:lnTo>
                  <a:pt x="6096000" y="6854824"/>
                </a:lnTo>
                <a:lnTo>
                  <a:pt x="1487757" y="6854824"/>
                </a:lnTo>
                <a:lnTo>
                  <a:pt x="1381078" y="6854824"/>
                </a:lnTo>
                <a:lnTo>
                  <a:pt x="0" y="6854824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E0ACE91A-2344-EBF8-ED22-DC1E72B3E3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1252330 w 6096000"/>
              <a:gd name="connsiteY0" fmla="*/ 0 h 6858000"/>
              <a:gd name="connsiteX1" fmla="*/ 1381078 w 6096000"/>
              <a:gd name="connsiteY1" fmla="*/ 0 h 6858000"/>
              <a:gd name="connsiteX2" fmla="*/ 2740086 w 6096000"/>
              <a:gd name="connsiteY2" fmla="*/ 0 h 6858000"/>
              <a:gd name="connsiteX3" fmla="*/ 6096000 w 6096000"/>
              <a:gd name="connsiteY3" fmla="*/ 0 h 6858000"/>
              <a:gd name="connsiteX4" fmla="*/ 6096000 w 6096000"/>
              <a:gd name="connsiteY4" fmla="*/ 6858000 h 6858000"/>
              <a:gd name="connsiteX5" fmla="*/ 1487757 w 6096000"/>
              <a:gd name="connsiteY5" fmla="*/ 6858000 h 6858000"/>
              <a:gd name="connsiteX6" fmla="*/ 1381078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1252330" y="0"/>
                </a:moveTo>
                <a:lnTo>
                  <a:pt x="1381078" y="0"/>
                </a:lnTo>
                <a:lnTo>
                  <a:pt x="2740086" y="0"/>
                </a:lnTo>
                <a:lnTo>
                  <a:pt x="6096000" y="0"/>
                </a:lnTo>
                <a:lnTo>
                  <a:pt x="6096000" y="6858000"/>
                </a:lnTo>
                <a:lnTo>
                  <a:pt x="1487757" y="6858000"/>
                </a:lnTo>
                <a:lnTo>
                  <a:pt x="138107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5992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0526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580259E-9E75-E476-8892-24D8D593CE2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/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93B8EB1-230A-9145-E2EC-895B4E216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2709000"/>
            <a:ext cx="8064624" cy="6647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presentation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BF6B344-E92C-CE73-B282-54A548C98F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376" y="5830322"/>
            <a:ext cx="2498255" cy="498597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B76D58C-1DC2-0E9C-EBDA-21D7C36A82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3573000"/>
            <a:ext cx="8064500" cy="319511"/>
          </a:xfrm>
        </p:spPr>
        <p:txBody>
          <a:bodyPr>
            <a:spAutoFit/>
          </a:bodyPr>
          <a:lstStyle>
            <a:lvl1pPr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| Author | Place | Date</a:t>
            </a:r>
          </a:p>
        </p:txBody>
      </p:sp>
    </p:spTree>
    <p:extLst>
      <p:ext uri="{BB962C8B-B14F-4D97-AF65-F5344CB8AC3E}">
        <p14:creationId xmlns:p14="http://schemas.microsoft.com/office/powerpoint/2010/main" val="41429117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01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580259E-9E75-E476-8892-24D8D593CE2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/>
          </a:p>
        </p:txBody>
      </p:sp>
      <p:sp>
        <p:nvSpPr>
          <p:cNvPr id="4" name="Titelplatzhalter 1">
            <a:extLst>
              <a:ext uri="{FF2B5EF4-FFF2-40B4-BE49-F238E27FC236}">
                <a16:creationId xmlns:a16="http://schemas.microsoft.com/office/drawing/2014/main" id="{C93B8EB1-230A-9145-E2EC-895B4E216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2044202"/>
            <a:ext cx="5400624" cy="13295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the presentation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BF6B344-E92C-CE73-B282-54A548C98F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376" y="5830322"/>
            <a:ext cx="2498255" cy="498597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B76D58C-1DC2-0E9C-EBDA-21D7C36A82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3573000"/>
            <a:ext cx="5400541" cy="319511"/>
          </a:xfrm>
        </p:spPr>
        <p:txBody>
          <a:bodyPr wrap="square">
            <a:spAutoFit/>
          </a:bodyPr>
          <a:lstStyle>
            <a:lvl1pPr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| Author | Place | Dat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F15D89B4-FCC9-9AFD-A8F3-C8A66289EEB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1252330 w 6096000"/>
              <a:gd name="connsiteY0" fmla="*/ 0 h 6858000"/>
              <a:gd name="connsiteX1" fmla="*/ 1381078 w 6096000"/>
              <a:gd name="connsiteY1" fmla="*/ 0 h 6858000"/>
              <a:gd name="connsiteX2" fmla="*/ 2740086 w 6096000"/>
              <a:gd name="connsiteY2" fmla="*/ 0 h 6858000"/>
              <a:gd name="connsiteX3" fmla="*/ 6096000 w 6096000"/>
              <a:gd name="connsiteY3" fmla="*/ 0 h 6858000"/>
              <a:gd name="connsiteX4" fmla="*/ 6096000 w 6096000"/>
              <a:gd name="connsiteY4" fmla="*/ 6858000 h 6858000"/>
              <a:gd name="connsiteX5" fmla="*/ 1487757 w 6096000"/>
              <a:gd name="connsiteY5" fmla="*/ 6858000 h 6858000"/>
              <a:gd name="connsiteX6" fmla="*/ 1381078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1252330" y="0"/>
                </a:moveTo>
                <a:lnTo>
                  <a:pt x="1381078" y="0"/>
                </a:lnTo>
                <a:lnTo>
                  <a:pt x="2740086" y="0"/>
                </a:lnTo>
                <a:lnTo>
                  <a:pt x="6096000" y="0"/>
                </a:lnTo>
                <a:lnTo>
                  <a:pt x="6096000" y="6858000"/>
                </a:lnTo>
                <a:lnTo>
                  <a:pt x="1487757" y="6858000"/>
                </a:lnTo>
                <a:lnTo>
                  <a:pt x="138107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4592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306090-E8CA-D287-7299-94EF8F096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9980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306090-E8CA-D287-7299-94EF8F096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E2965633-D5A6-A92A-4360-B51464D08EC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BF6B344-E92C-CE73-B282-54A548C98F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9376" y="5830322"/>
            <a:ext cx="2498255" cy="498597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B76D58C-1DC2-0E9C-EBDA-21D7C36A82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28000" y="1167309"/>
            <a:ext cx="4824000" cy="4320606"/>
          </a:xfrm>
        </p:spPr>
        <p:txBody>
          <a:bodyPr wrap="square">
            <a:spAutoFit/>
          </a:bodyPr>
          <a:lstStyle>
            <a:lvl1pPr>
              <a:spcAft>
                <a:spcPts val="1200"/>
              </a:spcAft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lvl="0"/>
            <a:r>
              <a:rPr lang="en-US"/>
              <a:t>Chapter topic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hapter topic</a:t>
            </a:r>
          </a:p>
        </p:txBody>
      </p:sp>
      <p:sp>
        <p:nvSpPr>
          <p:cNvPr id="7" name="Text Placeholder 16">
            <a:extLst>
              <a:ext uri="{FF2B5EF4-FFF2-40B4-BE49-F238E27FC236}">
                <a16:creationId xmlns:a16="http://schemas.microsoft.com/office/drawing/2014/main" id="{C0333402-E1E7-5D7D-8DB6-87F62E1F5D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376" y="1167309"/>
            <a:ext cx="432624" cy="4320606"/>
          </a:xfrm>
        </p:spPr>
        <p:txBody>
          <a:bodyPr>
            <a:spAutoFit/>
          </a:bodyPr>
          <a:lstStyle>
            <a:lvl1pPr>
              <a:spcAft>
                <a:spcPts val="1200"/>
              </a:spcAft>
              <a:defRPr sz="1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  <a:p>
            <a:pPr lvl="0"/>
            <a:r>
              <a:rPr lang="en-US"/>
              <a:t>06</a:t>
            </a:r>
          </a:p>
          <a:p>
            <a:pPr lvl="0"/>
            <a:r>
              <a:rPr lang="en-US"/>
              <a:t>07</a:t>
            </a:r>
          </a:p>
          <a:p>
            <a:pPr lvl="0"/>
            <a:r>
              <a:rPr lang="en-US"/>
              <a:t>08</a:t>
            </a:r>
          </a:p>
          <a:p>
            <a:pPr lvl="0"/>
            <a:r>
              <a:rPr lang="en-US"/>
              <a:t>09</a:t>
            </a:r>
          </a:p>
        </p:txBody>
      </p:sp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763C0F5A-1AD8-C4AB-E81D-71022C8E48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405000"/>
            <a:ext cx="5472624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61261D0-2DC0-AA50-BC8A-C9EF71DD61F9}"/>
              </a:ext>
            </a:extLst>
          </p:cNvPr>
          <p:cNvSpPr/>
          <p:nvPr userDrawn="1"/>
        </p:nvSpPr>
        <p:spPr>
          <a:xfrm>
            <a:off x="6096000" y="3176"/>
            <a:ext cx="6096000" cy="6854824"/>
          </a:xfrm>
          <a:custGeom>
            <a:avLst/>
            <a:gdLst>
              <a:gd name="connsiteX0" fmla="*/ 1251750 w 6096000"/>
              <a:gd name="connsiteY0" fmla="*/ 0 h 6854824"/>
              <a:gd name="connsiteX1" fmla="*/ 6096000 w 6096000"/>
              <a:gd name="connsiteY1" fmla="*/ 0 h 6854824"/>
              <a:gd name="connsiteX2" fmla="*/ 6096000 w 6096000"/>
              <a:gd name="connsiteY2" fmla="*/ 6854824 h 6854824"/>
              <a:gd name="connsiteX3" fmla="*/ 1487757 w 6096000"/>
              <a:gd name="connsiteY3" fmla="*/ 6854824 h 6854824"/>
              <a:gd name="connsiteX4" fmla="*/ 1381078 w 6096000"/>
              <a:gd name="connsiteY4" fmla="*/ 6854824 h 6854824"/>
              <a:gd name="connsiteX5" fmla="*/ 0 w 6096000"/>
              <a:gd name="connsiteY5" fmla="*/ 6854824 h 6854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4824">
                <a:moveTo>
                  <a:pt x="1251750" y="0"/>
                </a:moveTo>
                <a:lnTo>
                  <a:pt x="6096000" y="0"/>
                </a:lnTo>
                <a:lnTo>
                  <a:pt x="6096000" y="6854824"/>
                </a:lnTo>
                <a:lnTo>
                  <a:pt x="1487757" y="6854824"/>
                </a:lnTo>
                <a:lnTo>
                  <a:pt x="1381078" y="6854824"/>
                </a:lnTo>
                <a:lnTo>
                  <a:pt x="0" y="6854824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E0ACE91A-2344-EBF8-ED22-DC1E72B3E3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1252330 w 6096000"/>
              <a:gd name="connsiteY0" fmla="*/ 0 h 6858000"/>
              <a:gd name="connsiteX1" fmla="*/ 1381078 w 6096000"/>
              <a:gd name="connsiteY1" fmla="*/ 0 h 6858000"/>
              <a:gd name="connsiteX2" fmla="*/ 2740086 w 6096000"/>
              <a:gd name="connsiteY2" fmla="*/ 0 h 6858000"/>
              <a:gd name="connsiteX3" fmla="*/ 6096000 w 6096000"/>
              <a:gd name="connsiteY3" fmla="*/ 0 h 6858000"/>
              <a:gd name="connsiteX4" fmla="*/ 6096000 w 6096000"/>
              <a:gd name="connsiteY4" fmla="*/ 6858000 h 6858000"/>
              <a:gd name="connsiteX5" fmla="*/ 1487757 w 6096000"/>
              <a:gd name="connsiteY5" fmla="*/ 6858000 h 6858000"/>
              <a:gd name="connsiteX6" fmla="*/ 1381078 w 6096000"/>
              <a:gd name="connsiteY6" fmla="*/ 6858000 h 6858000"/>
              <a:gd name="connsiteX7" fmla="*/ 0 w 6096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6858000">
                <a:moveTo>
                  <a:pt x="1252330" y="0"/>
                </a:moveTo>
                <a:lnTo>
                  <a:pt x="1381078" y="0"/>
                </a:lnTo>
                <a:lnTo>
                  <a:pt x="2740086" y="0"/>
                </a:lnTo>
                <a:lnTo>
                  <a:pt x="6096000" y="0"/>
                </a:lnTo>
                <a:lnTo>
                  <a:pt x="6096000" y="6858000"/>
                </a:lnTo>
                <a:lnTo>
                  <a:pt x="1487757" y="6858000"/>
                </a:lnTo>
                <a:lnTo>
                  <a:pt x="1381078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4169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99A7FF-2E9A-4AFF-A8DA-8ACABCDCB7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212865-BE3F-422A-BE47-9AFBF8F5CB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17EEA7-A099-43B7-9BB4-80331C29EA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EE51B-EB45-4CE5-B7EF-E55A36154F54}" type="datetimeFigureOut">
              <a:rPr lang="cs-CZ" smtClean="0"/>
              <a:t>25.01.2023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167903-7B0D-4B0A-A95A-46D0DB43A4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3EFF2A-64DE-4A97-BF85-BA0F558A6C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554EB-D3A9-4355-99FC-5F1B6F26FFD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4568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A3C14A-7DDA-4FCF-AE69-2F2B62BFE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1CD7F3-C391-44F7-86EA-9E22640D9D9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104DD2-1D7F-43F3-80D2-0068B8705F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143890-0F15-40CB-8B57-F1E3D454F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EE51B-EB45-4CE5-B7EF-E55A36154F54}" type="datetimeFigureOut">
              <a:rPr lang="cs-CZ" smtClean="0"/>
              <a:t>25.01.2023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5117D5-B2C3-4523-A37F-49B5B7ADE2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B1F672-263E-4F7B-B1CB-5A9A63B48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554EB-D3A9-4355-99FC-5F1B6F26FFD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88663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AF6ED6-AAAF-46BA-8EC4-58949F16A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9E8CEE-A3ED-4F39-B2D5-5B96519BD6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43FD7A-A18A-4128-A9B6-F96C50C1E9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0839D9-DC4A-4129-8455-CB00E4800C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0D5833-FBF8-48FA-B8AA-C3E8E87B3A5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51F1D31-6E4D-4269-8490-6963A1F080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EE51B-EB45-4CE5-B7EF-E55A36154F54}" type="datetimeFigureOut">
              <a:rPr lang="cs-CZ" smtClean="0"/>
              <a:t>25.01.2023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32A024-55A1-406C-8683-9EBC1AF73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D7FD24-E259-4E13-B702-E08E2A97E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554EB-D3A9-4355-99FC-5F1B6F26FFD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250590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A6E43-9139-49C5-B427-BB8C4299CE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4AFDD3-14F8-4B18-BB34-F2B768F401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EE51B-EB45-4CE5-B7EF-E55A36154F54}" type="datetimeFigureOut">
              <a:rPr lang="cs-CZ" smtClean="0"/>
              <a:t>25.01.2023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3E15FD-9BF4-4621-980D-D7FE383897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747E45-0F8C-45DF-A176-F3829FEB6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554EB-D3A9-4355-99FC-5F1B6F26FFD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956719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08038D-AF39-4EB0-A5CB-36F589E628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EE51B-EB45-4CE5-B7EF-E55A36154F54}" type="datetimeFigureOut">
              <a:rPr lang="cs-CZ" smtClean="0"/>
              <a:t>25.01.2023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B6E395-CAE2-44F9-B095-749F62ACF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12EBB8-A001-4CF7-9950-B383383C0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554EB-D3A9-4355-99FC-5F1B6F26FFD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34907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03CB5-0274-420F-8DAE-6BC999F93F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5EF5E6-1F60-4E8C-B36C-4AD24B5022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7FA2ED-2809-455B-9988-1F319C9CC1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0DD443-D0E1-43CA-97AB-C105CB23E7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EE51B-EB45-4CE5-B7EF-E55A36154F54}" type="datetimeFigureOut">
              <a:rPr lang="cs-CZ" smtClean="0"/>
              <a:t>25.01.2023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864FD9-34BA-4965-97D9-A04FE03C7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7F670A-7CD0-4313-97E7-BF96B9C36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554EB-D3A9-4355-99FC-5F1B6F26FFD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557506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C3582E-69DA-4D81-8DF3-F3AB91B33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6CEAB2-38A2-4AE2-82E6-D170242FAF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28A3D2-6FB7-44D5-8D99-424D5E0EB8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6DEE19-5A3B-4DEB-B44D-48B0AD659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0EE51B-EB45-4CE5-B7EF-E55A36154F54}" type="datetimeFigureOut">
              <a:rPr lang="cs-CZ" smtClean="0"/>
              <a:t>25.01.2023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5B7641-B193-4462-93A2-89B174E3D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033D5B-7F64-4D2A-9291-061C6C8F3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9554EB-D3A9-4355-99FC-5F1B6F26FFD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864781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oleObject" Target="../embeddings/oleObject14.bin"/><Relationship Id="rId5" Type="http://schemas.openxmlformats.org/officeDocument/2006/relationships/tags" Target="../tags/tag14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12D881-B22F-4EA9-9618-6EFEB6D54D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C6AA9B-8563-4163-A5C3-21E31F9758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ED7CB0-8BB7-4527-A837-62B3C8FE52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0EE51B-EB45-4CE5-B7EF-E55A36154F54}" type="datetimeFigureOut">
              <a:rPr lang="cs-CZ" smtClean="0"/>
              <a:t>25.01.2023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A48FFA-9CF1-40B4-A632-B22C3FCF83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1B5BC5-7A0F-41BC-9B94-7373A564F3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9554EB-D3A9-4355-99FC-5F1B6F26FFD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423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9E3C4AF-367B-94DA-3D70-A0C936AFD1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55678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9E3C4AF-367B-94DA-3D70-A0C936AFD1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376" y="405000"/>
            <a:ext cx="11233248" cy="4985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376" y="1481727"/>
            <a:ext cx="11233248" cy="46167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4"/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535237"/>
            <a:ext cx="2520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39" name="Gerader Verbinder 34">
            <a:extLst>
              <a:ext uri="{FF2B5EF4-FFF2-40B4-BE49-F238E27FC236}">
                <a16:creationId xmlns:a16="http://schemas.microsoft.com/office/drawing/2014/main" id="{14C803C2-54F8-44FA-92F2-020B1F353F1D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4B902B05-1723-406D-AA6C-F5057A006088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4">
            <a:extLst>
              <a:ext uri="{FF2B5EF4-FFF2-40B4-BE49-F238E27FC236}">
                <a16:creationId xmlns:a16="http://schemas.microsoft.com/office/drawing/2014/main" id="{D6D29559-44C7-4941-896C-4CC7479D1C56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8">
            <a:extLst>
              <a:ext uri="{FF2B5EF4-FFF2-40B4-BE49-F238E27FC236}">
                <a16:creationId xmlns:a16="http://schemas.microsoft.com/office/drawing/2014/main" id="{3159F292-8650-4011-8F79-F0F8445554F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9">
            <a:extLst>
              <a:ext uri="{FF2B5EF4-FFF2-40B4-BE49-F238E27FC236}">
                <a16:creationId xmlns:a16="http://schemas.microsoft.com/office/drawing/2014/main" id="{0AB2BE8A-7D23-4183-92E1-67974A2A48D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0">
            <a:extLst>
              <a:ext uri="{FF2B5EF4-FFF2-40B4-BE49-F238E27FC236}">
                <a16:creationId xmlns:a16="http://schemas.microsoft.com/office/drawing/2014/main" id="{0BA59727-F03E-4EC2-9B92-7D69C5F5132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31">
            <a:extLst>
              <a:ext uri="{FF2B5EF4-FFF2-40B4-BE49-F238E27FC236}">
                <a16:creationId xmlns:a16="http://schemas.microsoft.com/office/drawing/2014/main" id="{32C65FE0-1662-4138-9EC0-2084F3C28B3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2">
            <a:extLst>
              <a:ext uri="{FF2B5EF4-FFF2-40B4-BE49-F238E27FC236}">
                <a16:creationId xmlns:a16="http://schemas.microsoft.com/office/drawing/2014/main" id="{42888836-7369-4EBE-9C9E-BC058C8CD2B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33">
            <a:extLst>
              <a:ext uri="{FF2B5EF4-FFF2-40B4-BE49-F238E27FC236}">
                <a16:creationId xmlns:a16="http://schemas.microsoft.com/office/drawing/2014/main" id="{F6F33C3B-02CE-4B5A-B9EB-599779C6DB7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34">
            <a:extLst>
              <a:ext uri="{FF2B5EF4-FFF2-40B4-BE49-F238E27FC236}">
                <a16:creationId xmlns:a16="http://schemas.microsoft.com/office/drawing/2014/main" id="{C344823A-990C-43BB-B408-74B9E1FE77B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35">
            <a:extLst>
              <a:ext uri="{FF2B5EF4-FFF2-40B4-BE49-F238E27FC236}">
                <a16:creationId xmlns:a16="http://schemas.microsoft.com/office/drawing/2014/main" id="{6EA706A0-6BB7-43C8-B37D-05491A7807E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36">
            <a:extLst>
              <a:ext uri="{FF2B5EF4-FFF2-40B4-BE49-F238E27FC236}">
                <a16:creationId xmlns:a16="http://schemas.microsoft.com/office/drawing/2014/main" id="{42186059-4E4C-477D-9823-0FFE8C074BD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37">
            <a:extLst>
              <a:ext uri="{FF2B5EF4-FFF2-40B4-BE49-F238E27FC236}">
                <a16:creationId xmlns:a16="http://schemas.microsoft.com/office/drawing/2014/main" id="{4AA6CC68-3E73-4520-B2BF-0725CB4DEB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34">
            <a:extLst>
              <a:ext uri="{FF2B5EF4-FFF2-40B4-BE49-F238E27FC236}">
                <a16:creationId xmlns:a16="http://schemas.microsoft.com/office/drawing/2014/main" id="{85A3413B-24C0-4ECC-8944-5D07079CD4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37">
            <a:extLst>
              <a:ext uri="{FF2B5EF4-FFF2-40B4-BE49-F238E27FC236}">
                <a16:creationId xmlns:a16="http://schemas.microsoft.com/office/drawing/2014/main" id="{D99F39C2-4277-490B-8A1B-54EAF79A4C7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A667BB4E-82D2-6AE2-3654-610CF44E1D53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9377" y="6401606"/>
            <a:ext cx="1440624" cy="287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401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9E3C4AF-367B-94DA-3D70-A0C936AFD1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46940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9E3C4AF-367B-94DA-3D70-A0C936AFD1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152CBC3-B660-49EC-8CFF-BDC08B2D060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376" y="405000"/>
            <a:ext cx="11233248" cy="4985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47DA143-B8D4-4CBA-A16E-07B0484BAAA6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376" y="1481727"/>
            <a:ext cx="11233248" cy="46167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4"/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90EB52-2700-4288-B91E-A90263E48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60624" y="6535237"/>
            <a:ext cx="2520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39" name="Gerader Verbinder 34">
            <a:extLst>
              <a:ext uri="{FF2B5EF4-FFF2-40B4-BE49-F238E27FC236}">
                <a16:creationId xmlns:a16="http://schemas.microsoft.com/office/drawing/2014/main" id="{14C803C2-54F8-44FA-92F2-020B1F353F1D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42267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4B902B05-1723-406D-AA6C-F5057A006088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1430712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4">
            <a:extLst>
              <a:ext uri="{FF2B5EF4-FFF2-40B4-BE49-F238E27FC236}">
                <a16:creationId xmlns:a16="http://schemas.microsoft.com/office/drawing/2014/main" id="{D6D29559-44C7-4941-896C-4CC7479D1C56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-150688" y="6327328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28">
            <a:extLst>
              <a:ext uri="{FF2B5EF4-FFF2-40B4-BE49-F238E27FC236}">
                <a16:creationId xmlns:a16="http://schemas.microsoft.com/office/drawing/2014/main" id="{3159F292-8650-4011-8F79-F0F8445554F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952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9">
            <a:extLst>
              <a:ext uri="{FF2B5EF4-FFF2-40B4-BE49-F238E27FC236}">
                <a16:creationId xmlns:a16="http://schemas.microsoft.com/office/drawing/2014/main" id="{0AB2BE8A-7D23-4183-92E1-67974A2A48D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000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30">
            <a:extLst>
              <a:ext uri="{FF2B5EF4-FFF2-40B4-BE49-F238E27FC236}">
                <a16:creationId xmlns:a16="http://schemas.microsoft.com/office/drawing/2014/main" id="{0BA59727-F03E-4EC2-9B92-7D69C5F5132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96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31">
            <a:extLst>
              <a:ext uri="{FF2B5EF4-FFF2-40B4-BE49-F238E27FC236}">
                <a16:creationId xmlns:a16="http://schemas.microsoft.com/office/drawing/2014/main" id="{32C65FE0-1662-4138-9EC0-2084F3C28B3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184232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32">
            <a:extLst>
              <a:ext uri="{FF2B5EF4-FFF2-40B4-BE49-F238E27FC236}">
                <a16:creationId xmlns:a16="http://schemas.microsoft.com/office/drawing/2014/main" id="{42888836-7369-4EBE-9C9E-BC058C8CD2B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07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33">
            <a:extLst>
              <a:ext uri="{FF2B5EF4-FFF2-40B4-BE49-F238E27FC236}">
                <a16:creationId xmlns:a16="http://schemas.microsoft.com/office/drawing/2014/main" id="{F6F33C3B-02CE-4B5A-B9EB-599779C6DB7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295768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34">
            <a:extLst>
              <a:ext uri="{FF2B5EF4-FFF2-40B4-BE49-F238E27FC236}">
                <a16:creationId xmlns:a16="http://schemas.microsoft.com/office/drawing/2014/main" id="{C344823A-990C-43BB-B408-74B9E1FE77B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071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35">
            <a:extLst>
              <a:ext uri="{FF2B5EF4-FFF2-40B4-BE49-F238E27FC236}">
                <a16:creationId xmlns:a16="http://schemas.microsoft.com/office/drawing/2014/main" id="{6EA706A0-6BB7-43C8-B37D-05491A7807E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966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36">
            <a:extLst>
              <a:ext uri="{FF2B5EF4-FFF2-40B4-BE49-F238E27FC236}">
                <a16:creationId xmlns:a16="http://schemas.microsoft.com/office/drawing/2014/main" id="{42186059-4E4C-477D-9823-0FFE8C074BD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832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37">
            <a:extLst>
              <a:ext uri="{FF2B5EF4-FFF2-40B4-BE49-F238E27FC236}">
                <a16:creationId xmlns:a16="http://schemas.microsoft.com/office/drawing/2014/main" id="{4AA6CC68-3E73-4520-B2BF-0725CB4DEB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2033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34">
            <a:extLst>
              <a:ext uri="{FF2B5EF4-FFF2-40B4-BE49-F238E27FC236}">
                <a16:creationId xmlns:a16="http://schemas.microsoft.com/office/drawing/2014/main" id="{85A3413B-24C0-4ECC-8944-5D07079CD4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37">
            <a:extLst>
              <a:ext uri="{FF2B5EF4-FFF2-40B4-BE49-F238E27FC236}">
                <a16:creationId xmlns:a16="http://schemas.microsoft.com/office/drawing/2014/main" id="{D99F39C2-4277-490B-8A1B-54EAF79A4C7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712624" y="-171000"/>
            <a:ext cx="0" cy="10800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5182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25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100000"/>
        <a:buFont typeface="TeleNeo Office" panose="020B050404020209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4" orient="horz" pos="4020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3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hyperlink" Target="https://developers.google.com/business-communications/rcs-business-messaging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4.xml"/><Relationship Id="rId6" Type="http://schemas.openxmlformats.org/officeDocument/2006/relationships/image" Target="../media/image21.png"/><Relationship Id="rId5" Type="http://schemas.openxmlformats.org/officeDocument/2006/relationships/hyperlink" Target="mailto:android@t-mobile.cz" TargetMode="Externa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5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7.xml"/><Relationship Id="rId6" Type="http://schemas.openxmlformats.org/officeDocument/2006/relationships/image" Target="../media/image24.png"/><Relationship Id="rId5" Type="http://schemas.openxmlformats.org/officeDocument/2006/relationships/hyperlink" Target="https://business-communications.cloud.google.com/console/partner-console?authuser=0" TargetMode="Externa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8.xml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9.xml"/><Relationship Id="rId5" Type="http://schemas.openxmlformats.org/officeDocument/2006/relationships/image" Target="../media/image26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0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1.xml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2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3.xml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4.xml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5.xml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6.xml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7.xml"/><Relationship Id="rId6" Type="http://schemas.openxmlformats.org/officeDocument/2006/relationships/hyperlink" Target="https://business-communications.cloud.google.com/console/rbm/devices?agentId=458817932109&amp;authuser=2" TargetMode="External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8.xml"/><Relationship Id="rId5" Type="http://schemas.openxmlformats.org/officeDocument/2006/relationships/image" Target="../media/image37.png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9.xml"/><Relationship Id="rId5" Type="http://schemas.openxmlformats.org/officeDocument/2006/relationships/image" Target="../media/image38.png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0.xml"/><Relationship Id="rId5" Type="http://schemas.openxmlformats.org/officeDocument/2006/relationships/image" Target="../media/image39.png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1.xml"/><Relationship Id="rId5" Type="http://schemas.openxmlformats.org/officeDocument/2006/relationships/image" Target="../media/image40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2.xml"/><Relationship Id="rId5" Type="http://schemas.openxmlformats.org/officeDocument/2006/relationships/image" Target="../media/image41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9.xml"/><Relationship Id="rId6" Type="http://schemas.openxmlformats.org/officeDocument/2006/relationships/hyperlink" Target="https://accounts.google.com/v3/signin/identifier?dsh=S940556023%3A1673957421980540&amp;authuser=0&amp;continue=https%3A%2F%2Fmyaccount.google.com%2F&amp;ec=GAlAwAE&amp;hl=cs&amp;service=accountsettings&amp;flowName=GlifWebSignIn&amp;flowEntry=AddSession" TargetMode="Externa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3.xml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4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5.xml"/><Relationship Id="rId6" Type="http://schemas.openxmlformats.org/officeDocument/2006/relationships/image" Target="../media/image47.png"/><Relationship Id="rId5" Type="http://schemas.openxmlformats.org/officeDocument/2006/relationships/hyperlink" Target="https://developers.google.com/business-communications/rcs-business-messaging/samples" TargetMode="External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hyperlink" Target="https://developers.google.com/business-communications/rcs-business-messaging/guides/get-started/how-it-works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7.xml"/><Relationship Id="rId6" Type="http://schemas.openxmlformats.org/officeDocument/2006/relationships/hyperlink" Target="https://developers.google.com/business-communications/rcs-business-messaging/samples" TargetMode="External"/><Relationship Id="rId5" Type="http://schemas.openxmlformats.org/officeDocument/2006/relationships/hyperlink" Target="https://developers.google.com/business-communications/rcs-business-messaging/reference/rest" TargetMode="Externa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0.xml"/><Relationship Id="rId6" Type="http://schemas.openxmlformats.org/officeDocument/2006/relationships/image" Target="../media/image13.png"/><Relationship Id="rId5" Type="http://schemas.openxmlformats.org/officeDocument/2006/relationships/hyperlink" Target="https://business-communications.cloud.google.com/console/partner-console?authuser=0" TargetMode="Externa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1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3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4389F7-7C74-B8D9-861D-0A14BDE80A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4389F7-7C74-B8D9-861D-0A14BDE80A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924327-74E2-6723-B304-D44885B01E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592" y="1693823"/>
            <a:ext cx="6750301" cy="3046988"/>
          </a:xfrm>
        </p:spPr>
        <p:txBody>
          <a:bodyPr vert="horz"/>
          <a:lstStyle/>
          <a:p>
            <a:r>
              <a:rPr lang="cs-CZ" sz="4400" b="1" dirty="0"/>
              <a:t>Postup zřízení </a:t>
            </a:r>
            <a:br>
              <a:rPr lang="cs-CZ" sz="4400" b="1" dirty="0"/>
            </a:br>
            <a:r>
              <a:rPr lang="cs-CZ" sz="4400" b="1" dirty="0"/>
              <a:t>RCS Business </a:t>
            </a:r>
            <a:r>
              <a:rPr lang="cs-CZ" sz="4400" b="1" dirty="0" err="1"/>
              <a:t>Messaging</a:t>
            </a:r>
            <a:r>
              <a:rPr lang="cs-CZ" sz="4400" b="1" dirty="0"/>
              <a:t> partnera</a:t>
            </a:r>
            <a:br>
              <a:rPr lang="cs-CZ" sz="4400" b="1" dirty="0"/>
            </a:br>
            <a:br>
              <a:rPr lang="cs-CZ" sz="4400" b="1" dirty="0"/>
            </a:br>
            <a:r>
              <a:rPr lang="cs-CZ" sz="4400" b="1" dirty="0"/>
              <a:t>Testování Agenta</a:t>
            </a:r>
            <a:endParaRPr lang="en-US" sz="4400" b="1" dirty="0"/>
          </a:p>
        </p:txBody>
      </p:sp>
      <p:pic>
        <p:nvPicPr>
          <p:cNvPr id="10" name="Picture Placeholder 9" descr="A picture containing nature, dewdrop&#10;&#10;Description automatically generated">
            <a:extLst>
              <a:ext uri="{FF2B5EF4-FFF2-40B4-BE49-F238E27FC236}">
                <a16:creationId xmlns:a16="http://schemas.microsoft.com/office/drawing/2014/main" id="{F4F33EE6-F3AE-EF15-0EE6-1C4AC29ECBD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/>
          <a:srcRect l="25009" r="250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74116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65AB20-5881-0054-73D1-C0A8FA69F8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33493" y="5877449"/>
            <a:ext cx="9051579" cy="31069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Po odsouhlasení Googlem přijde schvalovací email na Agent </a:t>
            </a:r>
            <a:r>
              <a:rPr lang="cs-CZ" sz="1600" dirty="0" err="1"/>
              <a:t>ownera</a:t>
            </a:r>
            <a:r>
              <a:rPr lang="cs-CZ" sz="1600" dirty="0"/>
              <a:t> a odkaz na developer </a:t>
            </a:r>
            <a:r>
              <a:rPr lang="cs-CZ" sz="1600" dirty="0" err="1"/>
              <a:t>sites</a:t>
            </a:r>
            <a:endParaRPr lang="cs-CZ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Agent </a:t>
            </a:r>
            <a:r>
              <a:rPr lang="cs-CZ" sz="1600" dirty="0" err="1"/>
              <a:t>owner</a:t>
            </a:r>
            <a:r>
              <a:rPr lang="cs-CZ" sz="1600" dirty="0"/>
              <a:t> </a:t>
            </a:r>
            <a:r>
              <a:rPr lang="cs-CZ" sz="1600" dirty="0" err="1"/>
              <a:t>name</a:t>
            </a:r>
            <a:r>
              <a:rPr lang="cs-CZ" sz="1600" dirty="0"/>
              <a:t> je</a:t>
            </a:r>
            <a:r>
              <a:rPr lang="cs-CZ" sz="1600"/>
              <a:t> název firmy, který je uveden v žádosti o zřízení Agenta ownera</a:t>
            </a:r>
            <a:endParaRPr lang="cs-CZ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Agent </a:t>
            </a:r>
            <a:r>
              <a:rPr lang="cs-CZ" sz="1600" dirty="0" err="1"/>
              <a:t>owner</a:t>
            </a:r>
            <a:r>
              <a:rPr lang="cs-CZ" sz="1600" dirty="0"/>
              <a:t> ID je firemní email, kterým je registrován Agent </a:t>
            </a:r>
            <a:r>
              <a:rPr lang="cs-CZ" sz="1600" dirty="0" err="1"/>
              <a:t>owner</a:t>
            </a:r>
            <a:r>
              <a:rPr lang="cs-CZ" sz="1600" dirty="0"/>
              <a:t> na Google (</a:t>
            </a:r>
            <a:r>
              <a:rPr lang="cs-CZ" sz="1600" u="sng">
                <a:solidFill>
                  <a:srgbClr val="0000FF"/>
                </a:solidFill>
                <a:latin typeface="Calibri"/>
                <a:cs typeface="Calibri"/>
              </a:rPr>
              <a:t>XXXX</a:t>
            </a:r>
            <a:r>
              <a:rPr lang="cs-CZ" sz="1600" u="sng">
                <a:solidFill>
                  <a:srgbClr val="0000FF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5"/>
              </a:rPr>
              <a:t>@t-mobile.cz</a:t>
            </a:r>
            <a:r>
              <a:rPr lang="cs-CZ" sz="1600" u="sng">
                <a:solidFill>
                  <a:srgbClr val="0000FF"/>
                </a:solidFill>
                <a:effectLst/>
                <a:latin typeface="Calibri"/>
                <a:ea typeface="Calibri" panose="020F0502020204030204" pitchFamily="34" charset="0"/>
                <a:cs typeface="Calibri"/>
              </a:rPr>
              <a:t>)</a:t>
            </a:r>
            <a:endParaRPr lang="cs-CZ" sz="1600">
              <a:latin typeface="Calibri"/>
              <a:cs typeface="Calibri"/>
            </a:endParaRPr>
          </a:p>
          <a:p>
            <a:endParaRPr lang="cs-CZ" sz="1600" dirty="0"/>
          </a:p>
          <a:p>
            <a:endParaRPr lang="en-US" sz="1600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75DFF6-FEA0-A995-12F2-44052E3484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33493" y="1102274"/>
            <a:ext cx="9261636" cy="4023348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C65B3E7-730D-B428-CA26-E4C912DA3D6F}"/>
              </a:ext>
            </a:extLst>
          </p:cNvPr>
          <p:cNvSpPr txBox="1"/>
          <p:nvPr/>
        </p:nvSpPr>
        <p:spPr>
          <a:xfrm>
            <a:off x="1097031" y="222213"/>
            <a:ext cx="1033071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solidFill>
                  <a:srgbClr val="5AB4C8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CS Business Messaging  |  Google Developers</a:t>
            </a:r>
            <a:endParaRPr lang="cs-CZ" sz="3600" dirty="0">
              <a:solidFill>
                <a:srgbClr val="5AB4C8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B651CD8-EA08-4DB2-91C0-8614837A1D04}"/>
              </a:ext>
            </a:extLst>
          </p:cNvPr>
          <p:cNvSpPr/>
          <p:nvPr/>
        </p:nvSpPr>
        <p:spPr>
          <a:xfrm>
            <a:off x="7825969" y="2429900"/>
            <a:ext cx="1004131" cy="388529"/>
          </a:xfrm>
          <a:prstGeom prst="roundRect">
            <a:avLst/>
          </a:prstGeom>
          <a:noFill/>
          <a:ln w="28575"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312339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3DAB4C7-EF02-1A17-9734-EE8AF56A5E3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124" y="314127"/>
            <a:ext cx="7059612" cy="158750"/>
          </a:xfrm>
        </p:spPr>
        <p:txBody>
          <a:bodyPr/>
          <a:lstStyle/>
          <a:p>
            <a:pPr algn="ctr"/>
            <a:r>
              <a:rPr lang="cs-CZ" sz="2800" dirty="0">
                <a:solidFill>
                  <a:srgbClr val="E20074"/>
                </a:solidFill>
                <a:latin typeface="+mj-lt"/>
                <a:ea typeface="+mj-ea"/>
                <a:cs typeface="+mj-cs"/>
              </a:rPr>
              <a:t>Developer </a:t>
            </a:r>
            <a:r>
              <a:rPr lang="cs-CZ" sz="2800" dirty="0" err="1">
                <a:solidFill>
                  <a:srgbClr val="E20074"/>
                </a:solidFill>
                <a:latin typeface="+mj-lt"/>
                <a:ea typeface="+mj-ea"/>
                <a:cs typeface="+mj-cs"/>
              </a:rPr>
              <a:t>sites</a:t>
            </a:r>
            <a:r>
              <a:rPr lang="cs-CZ" sz="2800" dirty="0">
                <a:solidFill>
                  <a:srgbClr val="E20074"/>
                </a:solidFill>
                <a:latin typeface="+mj-lt"/>
                <a:ea typeface="+mj-ea"/>
                <a:cs typeface="+mj-cs"/>
              </a:rPr>
              <a:t> a odkaz na dokumentaci</a:t>
            </a:r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27EE46E7-389C-4434-0F80-DA88E24F270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282157" y="726418"/>
            <a:ext cx="8901638" cy="5631441"/>
          </a:xfr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9E36588-2AB0-4DFF-8481-54F4F7465D94}"/>
              </a:ext>
            </a:extLst>
          </p:cNvPr>
          <p:cNvSpPr/>
          <p:nvPr/>
        </p:nvSpPr>
        <p:spPr>
          <a:xfrm>
            <a:off x="1461491" y="1233501"/>
            <a:ext cx="473456" cy="305047"/>
          </a:xfrm>
          <a:prstGeom prst="roundRect">
            <a:avLst/>
          </a:prstGeom>
          <a:noFill/>
          <a:ln w="28575"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235FEDDB-9077-4279-BB60-8F460E733C17}"/>
              </a:ext>
            </a:extLst>
          </p:cNvPr>
          <p:cNvSpPr/>
          <p:nvPr/>
        </p:nvSpPr>
        <p:spPr>
          <a:xfrm rot="16200000">
            <a:off x="1246948" y="1884541"/>
            <a:ext cx="808355" cy="379272"/>
          </a:xfrm>
          <a:prstGeom prst="rightArrow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16616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581246A-9147-4CFE-8DF4-21BD7FB8F43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86253" y="357551"/>
            <a:ext cx="7059612" cy="158750"/>
          </a:xfrm>
        </p:spPr>
        <p:txBody>
          <a:bodyPr/>
          <a:lstStyle/>
          <a:p>
            <a:pPr algn="ctr"/>
            <a:r>
              <a:rPr lang="cs-CZ" sz="2800" dirty="0">
                <a:solidFill>
                  <a:srgbClr val="E20074"/>
                </a:solidFill>
                <a:latin typeface="+mj-lt"/>
                <a:ea typeface="+mj-ea"/>
                <a:cs typeface="+mj-cs"/>
              </a:rPr>
              <a:t>Dokumentace a odkaz na developer konzoli</a:t>
            </a:r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D30EC0D9-26A7-10CA-4780-6D056646EE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504306" y="794451"/>
            <a:ext cx="9183387" cy="5547248"/>
          </a:xfr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2378690-E00E-41A0-B264-266F17E53F7E}"/>
              </a:ext>
            </a:extLst>
          </p:cNvPr>
          <p:cNvSpPr/>
          <p:nvPr/>
        </p:nvSpPr>
        <p:spPr>
          <a:xfrm>
            <a:off x="10096288" y="1162278"/>
            <a:ext cx="695807" cy="257450"/>
          </a:xfrm>
          <a:prstGeom prst="roundRect">
            <a:avLst/>
          </a:prstGeom>
          <a:noFill/>
          <a:ln w="28575"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0C4F605C-8691-4042-9799-E69E77E993D6}"/>
              </a:ext>
            </a:extLst>
          </p:cNvPr>
          <p:cNvSpPr/>
          <p:nvPr/>
        </p:nvSpPr>
        <p:spPr>
          <a:xfrm rot="16200000">
            <a:off x="10050337" y="1802783"/>
            <a:ext cx="808355" cy="379272"/>
          </a:xfrm>
          <a:prstGeom prst="rightArrow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52995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12303A-7C8A-BDED-F7C4-28243E8FC0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7453" y="248071"/>
            <a:ext cx="11233248" cy="498598"/>
          </a:xfrm>
        </p:spPr>
        <p:txBody>
          <a:bodyPr vert="horz"/>
          <a:lstStyle/>
          <a:p>
            <a:r>
              <a:rPr lang="cs-CZ" dirty="0">
                <a:solidFill>
                  <a:srgbClr val="5AB4C8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siness Communications (google.com)</a:t>
            </a:r>
            <a:endParaRPr lang="en-US" dirty="0">
              <a:solidFill>
                <a:srgbClr val="5AB4C8"/>
              </a:solidFill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DA3FC84A-3910-9E53-6365-36D46DD8619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7453" y="903598"/>
            <a:ext cx="8781096" cy="5389471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0A9504A-F09D-419C-A108-9021A58AFC77}"/>
              </a:ext>
            </a:extLst>
          </p:cNvPr>
          <p:cNvSpPr/>
          <p:nvPr/>
        </p:nvSpPr>
        <p:spPr>
          <a:xfrm>
            <a:off x="4210213" y="3761098"/>
            <a:ext cx="951335" cy="654491"/>
          </a:xfrm>
          <a:prstGeom prst="roundRect">
            <a:avLst/>
          </a:prstGeom>
          <a:noFill/>
          <a:ln w="28575"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25B3F0B8-6F34-4D15-9596-3245DB328DC5}"/>
              </a:ext>
            </a:extLst>
          </p:cNvPr>
          <p:cNvSpPr/>
          <p:nvPr/>
        </p:nvSpPr>
        <p:spPr>
          <a:xfrm>
            <a:off x="3222880" y="3929715"/>
            <a:ext cx="808355" cy="379272"/>
          </a:xfrm>
          <a:prstGeom prst="rightArrow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38500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B11AC9F9-312C-0A17-D704-D6B178AC69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9657" y="784141"/>
            <a:ext cx="6112685" cy="528971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0FC6639-C7F4-ACFC-B800-184BD5F06BCC}"/>
              </a:ext>
            </a:extLst>
          </p:cNvPr>
          <p:cNvSpPr txBox="1"/>
          <p:nvPr/>
        </p:nvSpPr>
        <p:spPr>
          <a:xfrm>
            <a:off x="8001710" y="2396596"/>
            <a:ext cx="11938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dirty="0"/>
              <a:t>Název Agent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6F5B46-9171-3423-46D1-E53BCA4B7106}"/>
              </a:ext>
            </a:extLst>
          </p:cNvPr>
          <p:cNvSpPr txBox="1"/>
          <p:nvPr/>
        </p:nvSpPr>
        <p:spPr>
          <a:xfrm>
            <a:off x="7710670" y="3213554"/>
            <a:ext cx="11938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dirty="0"/>
              <a:t>Místo registrace Agenta</a:t>
            </a:r>
          </a:p>
        </p:txBody>
      </p:sp>
    </p:spTree>
    <p:extLst>
      <p:ext uri="{BB962C8B-B14F-4D97-AF65-F5344CB8AC3E}">
        <p14:creationId xmlns:p14="http://schemas.microsoft.com/office/powerpoint/2010/main" val="564178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3957BF89-BA87-6906-360F-510C9D9DCA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47" y="1142732"/>
            <a:ext cx="6411259" cy="4981609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B2E3368-53BF-AB3A-8A5B-88631BF4AAD4}"/>
              </a:ext>
            </a:extLst>
          </p:cNvPr>
          <p:cNvSpPr txBox="1"/>
          <p:nvPr/>
        </p:nvSpPr>
        <p:spPr>
          <a:xfrm>
            <a:off x="6979566" y="3985821"/>
            <a:ext cx="46713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/>
              <a:t>Konverzační </a:t>
            </a:r>
            <a:r>
              <a:rPr lang="cs-CZ" sz="1200" dirty="0"/>
              <a:t>– zprávy jsou vyměňovány v obou směrech</a:t>
            </a:r>
          </a:p>
          <a:p>
            <a:r>
              <a:rPr lang="cs-CZ" sz="1200" b="1" dirty="0"/>
              <a:t>Základní</a:t>
            </a:r>
            <a:r>
              <a:rPr lang="cs-CZ" sz="1200" dirty="0"/>
              <a:t> - zpráva ve formátu prostého textu o délce až 160 UTF-8 znaků</a:t>
            </a:r>
          </a:p>
          <a:p>
            <a:r>
              <a:rPr lang="cs-CZ" sz="1200" b="1" dirty="0"/>
              <a:t>Jedna zpráva </a:t>
            </a:r>
            <a:r>
              <a:rPr lang="cs-CZ" sz="1200" dirty="0"/>
              <a:t>- jedna zprávu s bohatým obsahem</a:t>
            </a:r>
          </a:p>
        </p:txBody>
      </p:sp>
    </p:spTree>
    <p:extLst>
      <p:ext uri="{BB962C8B-B14F-4D97-AF65-F5344CB8AC3E}">
        <p14:creationId xmlns:p14="http://schemas.microsoft.com/office/powerpoint/2010/main" val="6885033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C8244907-9B28-B090-9BA8-78B3AAAACA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781" y="636621"/>
            <a:ext cx="6171536" cy="549460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0B4AABC-4844-1174-7757-EA7E89A8597B}"/>
              </a:ext>
            </a:extLst>
          </p:cNvPr>
          <p:cNvSpPr txBox="1"/>
          <p:nvPr/>
        </p:nvSpPr>
        <p:spPr>
          <a:xfrm>
            <a:off x="6905846" y="3900707"/>
            <a:ext cx="5065576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cs-CZ" sz="1200" b="1" dirty="0"/>
              <a:t>OTP</a:t>
            </a:r>
            <a:r>
              <a:rPr lang="cs-CZ" sz="1200" dirty="0"/>
              <a:t>: Jednorázová hesla vyžadovaná k bezpečnému ověření účtu nebo potvrzení transakce</a:t>
            </a:r>
          </a:p>
          <a:p>
            <a:pPr algn="l">
              <a:spcAft>
                <a:spcPts val="600"/>
              </a:spcAft>
            </a:pPr>
            <a:r>
              <a:rPr lang="cs-CZ" sz="1200" b="1" dirty="0"/>
              <a:t>Transakční: </a:t>
            </a:r>
            <a:r>
              <a:rPr lang="cs-CZ" sz="1200" dirty="0"/>
              <a:t>Oznámení, aktualizace nebo upozornění za účelem sdílení informací přímo souvisejících se stávajícími službami nebo produkty zákazníka, například upozornění na podezřelé aktivity na účtu, potvrzení nákupu a oznámení o odeslání.</a:t>
            </a:r>
          </a:p>
          <a:p>
            <a:pPr algn="l">
              <a:spcAft>
                <a:spcPts val="600"/>
              </a:spcAft>
            </a:pPr>
            <a:r>
              <a:rPr lang="cs-CZ" sz="1200" b="1" dirty="0"/>
              <a:t>Propagační: </a:t>
            </a:r>
            <a:r>
              <a:rPr lang="cs-CZ" sz="1200" dirty="0"/>
              <a:t>Prodejní, marketingová a propagační sdělení novým nebo stávajícím zákazníkům s cílem zvýšit povědomí, zapojení a prodej.</a:t>
            </a:r>
          </a:p>
          <a:p>
            <a:pPr algn="l"/>
            <a:r>
              <a:rPr lang="cs-CZ" sz="1200" b="1" dirty="0"/>
              <a:t>Víceúčelové použití: </a:t>
            </a:r>
            <a:r>
              <a:rPr lang="cs-CZ" sz="1200" dirty="0"/>
              <a:t>Konverzační toky, které kombinují transakční a propagační případy použití, jako je odeslání oznámení o účtu a následná nabídka slevy nebo upgradu pro nový produkt a službu.</a:t>
            </a:r>
          </a:p>
          <a:p>
            <a:endParaRPr lang="cs-CZ" sz="800" dirty="0"/>
          </a:p>
        </p:txBody>
      </p:sp>
    </p:spTree>
    <p:extLst>
      <p:ext uri="{BB962C8B-B14F-4D97-AF65-F5344CB8AC3E}">
        <p14:creationId xmlns:p14="http://schemas.microsoft.com/office/powerpoint/2010/main" val="36643844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413E9D0-FDE3-471A-BC42-6812FE297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14" y="2571551"/>
            <a:ext cx="4518726" cy="997196"/>
          </a:xfrm>
        </p:spPr>
        <p:txBody>
          <a:bodyPr/>
          <a:lstStyle/>
          <a:p>
            <a:r>
              <a:rPr lang="cs-CZ" dirty="0"/>
              <a:t>Detail zřízeného Agenta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1021FE82-A39D-4106-9302-7478145AA850}"/>
              </a:ext>
            </a:extLst>
          </p:cNvPr>
          <p:cNvSpPr/>
          <p:nvPr/>
        </p:nvSpPr>
        <p:spPr>
          <a:xfrm>
            <a:off x="5486400" y="-1"/>
            <a:ext cx="6705599" cy="6858001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pic>
        <p:nvPicPr>
          <p:cNvPr id="3" name="Graphic 2" descr="Research">
            <a:extLst>
              <a:ext uri="{FF2B5EF4-FFF2-40B4-BE49-F238E27FC236}">
                <a16:creationId xmlns:a16="http://schemas.microsoft.com/office/drawing/2014/main" id="{A2A8DEF8-D4B0-4FE7-85D7-A1D37A1449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75884" y="2358190"/>
            <a:ext cx="3384884" cy="3384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5606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6C424B84-662D-55AF-B3B5-5227D31BCB6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853363" y="896783"/>
            <a:ext cx="8210521" cy="5064434"/>
          </a:xfr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496206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9F26DF-302D-07B4-F8E2-FEE2315AA9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1072" y="903598"/>
            <a:ext cx="9432089" cy="5120630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2973878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1021FE82-A39D-4106-9302-7478145AA850}"/>
              </a:ext>
            </a:extLst>
          </p:cNvPr>
          <p:cNvSpPr/>
          <p:nvPr/>
        </p:nvSpPr>
        <p:spPr>
          <a:xfrm>
            <a:off x="5486400" y="-1"/>
            <a:ext cx="6705599" cy="6858001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13E9D0-FDE3-471A-BC42-6812FE297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14" y="2571550"/>
            <a:ext cx="6011660" cy="1620622"/>
          </a:xfrm>
        </p:spPr>
        <p:txBody>
          <a:bodyPr/>
          <a:lstStyle/>
          <a:p>
            <a:r>
              <a:rPr lang="cs-CZ" dirty="0"/>
              <a:t>Zřízení Firemního účtu (profilu) na Google</a:t>
            </a:r>
          </a:p>
        </p:txBody>
      </p:sp>
      <p:pic>
        <p:nvPicPr>
          <p:cNvPr id="3" name="Graphic 2" descr="Employee badge">
            <a:extLst>
              <a:ext uri="{FF2B5EF4-FFF2-40B4-BE49-F238E27FC236}">
                <a16:creationId xmlns:a16="http://schemas.microsoft.com/office/drawing/2014/main" id="{A946913A-9558-4EBD-85C8-383D5A061B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63022" y="2169942"/>
            <a:ext cx="3434862" cy="3434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7803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65AB20-5881-0054-73D1-C0A8FA69F8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50513" y="5693199"/>
            <a:ext cx="7034165" cy="631260"/>
          </a:xfrm>
        </p:spPr>
        <p:txBody>
          <a:bodyPr/>
          <a:lstStyle/>
          <a:p>
            <a:r>
              <a:rPr lang="cs-CZ" sz="1600" dirty="0">
                <a:solidFill>
                  <a:srgbClr val="E20074"/>
                </a:solidFill>
              </a:rPr>
              <a:t>Musí být vyplněna všechna pole!</a:t>
            </a:r>
          </a:p>
          <a:p>
            <a:endParaRPr lang="en-US" sz="1600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Content Placeholder 5">
            <a:extLst>
              <a:ext uri="{FF2B5EF4-FFF2-40B4-BE49-F238E27FC236}">
                <a16:creationId xmlns:a16="http://schemas.microsoft.com/office/drawing/2014/main" id="{D68E9F5A-EF6A-CE3C-0A64-5E9D6031A6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650513" y="504245"/>
            <a:ext cx="8314975" cy="5061990"/>
          </a:xfr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15743670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12303A-7C8A-BDED-F7C4-28243E8FC0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405000"/>
            <a:ext cx="11233248" cy="498598"/>
          </a:xfrm>
        </p:spPr>
        <p:txBody>
          <a:bodyPr vert="horz"/>
          <a:lstStyle/>
          <a:p>
            <a:r>
              <a:rPr lang="cs-CZ" dirty="0"/>
              <a:t>Definice klíče pro volání rozhraní API RBM Agenta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BA900DE8-CFA3-C243-431A-DB897777BD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954103" y="1387475"/>
            <a:ext cx="10283793" cy="4351338"/>
          </a:xfr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28661FF-4571-46E5-94B5-952391DE61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0826B749-32F1-4E4C-B3F2-58B9F4E00306}"/>
              </a:ext>
            </a:extLst>
          </p:cNvPr>
          <p:cNvSpPr/>
          <p:nvPr/>
        </p:nvSpPr>
        <p:spPr>
          <a:xfrm>
            <a:off x="1139468" y="2305044"/>
            <a:ext cx="634742" cy="264992"/>
          </a:xfrm>
          <a:prstGeom prst="roundRect">
            <a:avLst/>
          </a:prstGeom>
          <a:noFill/>
          <a:ln w="28575"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DB9ABB19-5A44-4387-B55F-534279A23EF2}"/>
              </a:ext>
            </a:extLst>
          </p:cNvPr>
          <p:cNvSpPr/>
          <p:nvPr/>
        </p:nvSpPr>
        <p:spPr>
          <a:xfrm rot="10800000">
            <a:off x="2004237" y="2305044"/>
            <a:ext cx="808355" cy="379272"/>
          </a:xfrm>
          <a:prstGeom prst="rightArrow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401872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65AB20-5881-0054-73D1-C0A8FA69F8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5790" y="153486"/>
            <a:ext cx="9730854" cy="182543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2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Definice</a:t>
            </a:r>
            <a:r>
              <a:rPr lang="cs-CZ" sz="2800" dirty="0"/>
              <a:t> </a:t>
            </a:r>
            <a:r>
              <a:rPr lang="cs-CZ" sz="2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estovacího telefonní čísla pro ověření RBM komunikace</a:t>
            </a:r>
          </a:p>
          <a:p>
            <a:endParaRPr lang="en-US" sz="2800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Content Placeholder 4">
            <a:extLst>
              <a:ext uri="{FF2B5EF4-FFF2-40B4-BE49-F238E27FC236}">
                <a16:creationId xmlns:a16="http://schemas.microsoft.com/office/drawing/2014/main" id="{BD87D745-DA61-07D2-A1A5-EEA5B0903FD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538775" y="1269657"/>
            <a:ext cx="10469783" cy="4351338"/>
          </a:xfr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9B02CD6-9104-4079-B1D9-5E6E841E37F5}"/>
              </a:ext>
            </a:extLst>
          </p:cNvPr>
          <p:cNvSpPr/>
          <p:nvPr/>
        </p:nvSpPr>
        <p:spPr>
          <a:xfrm>
            <a:off x="575995" y="2921656"/>
            <a:ext cx="607447" cy="292287"/>
          </a:xfrm>
          <a:prstGeom prst="roundRect">
            <a:avLst/>
          </a:prstGeom>
          <a:noFill/>
          <a:ln w="28575"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79E9CFC7-21C2-4082-8B8C-8BC269B39D13}"/>
              </a:ext>
            </a:extLst>
          </p:cNvPr>
          <p:cNvSpPr/>
          <p:nvPr/>
        </p:nvSpPr>
        <p:spPr>
          <a:xfrm rot="10800000">
            <a:off x="1438179" y="2886377"/>
            <a:ext cx="808355" cy="417437"/>
          </a:xfrm>
          <a:prstGeom prst="rightArrow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4511525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65AB20-5881-0054-73D1-C0A8FA69F8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6029" y="307722"/>
            <a:ext cx="7738790" cy="657797"/>
          </a:xfrm>
        </p:spPr>
        <p:txBody>
          <a:bodyPr/>
          <a:lstStyle/>
          <a:p>
            <a:r>
              <a:rPr lang="cs-CZ" sz="2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puštění otestovaného Agenta do ostrého provozu</a:t>
            </a:r>
            <a:endParaRPr lang="en-US" sz="28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BC9545-7E28-B391-46CB-0B1A15CB38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6029" y="1138300"/>
            <a:ext cx="9761219" cy="5083079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EB90713-0867-4415-B983-A2F824430B37}"/>
              </a:ext>
            </a:extLst>
          </p:cNvPr>
          <p:cNvSpPr/>
          <p:nvPr/>
        </p:nvSpPr>
        <p:spPr>
          <a:xfrm>
            <a:off x="1109677" y="3109417"/>
            <a:ext cx="607447" cy="292287"/>
          </a:xfrm>
          <a:prstGeom prst="roundRect">
            <a:avLst/>
          </a:prstGeom>
          <a:noFill/>
          <a:ln w="28575"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4C1FD527-06FC-44E8-9958-7B9AB34D3E4E}"/>
              </a:ext>
            </a:extLst>
          </p:cNvPr>
          <p:cNvSpPr/>
          <p:nvPr/>
        </p:nvSpPr>
        <p:spPr>
          <a:xfrm rot="10800000">
            <a:off x="1960694" y="3109417"/>
            <a:ext cx="808355" cy="379272"/>
          </a:xfrm>
          <a:prstGeom prst="rightArrow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318088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1DD4C6-D88C-BFB6-6D84-4549440330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1256" y="636621"/>
            <a:ext cx="9849487" cy="518304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F5F0773-298C-386F-4939-56291CAEAAED}"/>
              </a:ext>
            </a:extLst>
          </p:cNvPr>
          <p:cNvSpPr txBox="1"/>
          <p:nvPr/>
        </p:nvSpPr>
        <p:spPr>
          <a:xfrm>
            <a:off x="7537467" y="3429000"/>
            <a:ext cx="38349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dirty="0"/>
              <a:t>Uživatel musí mít možnost ukončit konverzaci </a:t>
            </a:r>
            <a:r>
              <a:rPr lang="cs-CZ" sz="800" dirty="0" err="1"/>
              <a:t>nezávile</a:t>
            </a:r>
            <a:r>
              <a:rPr lang="cs-CZ" sz="800" dirty="0"/>
              <a:t> na Agentovi. Např. napsáním textu STOP do zpráv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B57B0DA-8B40-6C65-B094-0B2C66244415}"/>
              </a:ext>
            </a:extLst>
          </p:cNvPr>
          <p:cNvSpPr txBox="1"/>
          <p:nvPr/>
        </p:nvSpPr>
        <p:spPr>
          <a:xfrm>
            <a:off x="7537467" y="2961157"/>
            <a:ext cx="58826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>
              <a:defRPr sz="800"/>
            </a:lvl1pPr>
          </a:lstStyle>
          <a:p>
            <a:r>
              <a:rPr lang="cs-CZ" dirty="0"/>
              <a:t>Spuštění agentů jsou určena pouze pro agenty připravené pro produkční prostředí, </a:t>
            </a:r>
          </a:p>
          <a:p>
            <a:r>
              <a:rPr lang="cs-CZ" dirty="0"/>
              <a:t>kteří mají v úmyslu komunikovat s uživateli. Agenta můžete otestovat nebo předvést pomocí </a:t>
            </a:r>
          </a:p>
          <a:p>
            <a:r>
              <a:rPr lang="cs-CZ" dirty="0"/>
              <a:t>pozvaných </a:t>
            </a:r>
            <a:r>
              <a:rPr lang="cs-CZ" dirty="0">
                <a:hlinkClick r:id="rId6"/>
              </a:rPr>
              <a:t>testovacích zařízení</a:t>
            </a:r>
            <a:r>
              <a:rPr lang="cs-CZ" dirty="0"/>
              <a:t>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7F24C5D-61C3-973E-E629-B87AAC3BE28F}"/>
              </a:ext>
            </a:extLst>
          </p:cNvPr>
          <p:cNvSpPr txBox="1"/>
          <p:nvPr/>
        </p:nvSpPr>
        <p:spPr>
          <a:xfrm>
            <a:off x="7537467" y="3896843"/>
            <a:ext cx="38349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dirty="0"/>
              <a:t>Po otestování Agentů zažádáte </a:t>
            </a:r>
            <a:r>
              <a:rPr lang="cs-CZ" sz="800" dirty="0" err="1"/>
              <a:t>T-mobile</a:t>
            </a:r>
            <a:r>
              <a:rPr lang="cs-CZ" sz="800" dirty="0"/>
              <a:t> o jejich spuštění do provozu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1F31092-D677-4174-AB62-F9ABA0DADD00}"/>
              </a:ext>
            </a:extLst>
          </p:cNvPr>
          <p:cNvSpPr/>
          <p:nvPr/>
        </p:nvSpPr>
        <p:spPr>
          <a:xfrm>
            <a:off x="6047980" y="4152284"/>
            <a:ext cx="699335" cy="286109"/>
          </a:xfrm>
          <a:prstGeom prst="roundRect">
            <a:avLst/>
          </a:prstGeom>
          <a:noFill/>
          <a:ln w="28575"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34359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65AB20-5881-0054-73D1-C0A8FA69F8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72D4AB1-61CA-339B-FF83-FE69738FFD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64656" y="405000"/>
            <a:ext cx="6628350" cy="5438775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7BEB600-BCA0-7358-0F99-52F37621156A}"/>
              </a:ext>
            </a:extLst>
          </p:cNvPr>
          <p:cNvSpPr txBox="1"/>
          <p:nvPr/>
        </p:nvSpPr>
        <p:spPr>
          <a:xfrm>
            <a:off x="6986587" y="2776724"/>
            <a:ext cx="21574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dirty="0"/>
              <a:t>Název konkrétního  agenta, kterým se bude Agent prezentovat navene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1912ED-2CAA-0536-CE7E-CFCEBF7C8FAC}"/>
              </a:ext>
            </a:extLst>
          </p:cNvPr>
          <p:cNvSpPr txBox="1"/>
          <p:nvPr/>
        </p:nvSpPr>
        <p:spPr>
          <a:xfrm>
            <a:off x="6997543" y="5140096"/>
            <a:ext cx="26104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dirty="0"/>
              <a:t>Kontakt na vlastníka provozujícího Agent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28BCA7-2D1A-A64B-BFEA-8A41812AA81E}"/>
              </a:ext>
            </a:extLst>
          </p:cNvPr>
          <p:cNvSpPr txBox="1"/>
          <p:nvPr/>
        </p:nvSpPr>
        <p:spPr>
          <a:xfrm>
            <a:off x="6997543" y="3877669"/>
            <a:ext cx="24057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dirty="0"/>
              <a:t>Kontakt na vlastníka provozujícího Agenta</a:t>
            </a:r>
          </a:p>
        </p:txBody>
      </p:sp>
    </p:spTree>
    <p:extLst>
      <p:ext uri="{BB962C8B-B14F-4D97-AF65-F5344CB8AC3E}">
        <p14:creationId xmlns:p14="http://schemas.microsoft.com/office/powerpoint/2010/main" val="42426979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D85B96-3C6A-BA4F-E5E4-E1D935DE30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59962" y="160704"/>
            <a:ext cx="6698921" cy="6535237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EFA1E8D-E547-BE03-FE4C-B8058C67CB3F}"/>
              </a:ext>
            </a:extLst>
          </p:cNvPr>
          <p:cNvSpPr txBox="1"/>
          <p:nvPr/>
        </p:nvSpPr>
        <p:spPr>
          <a:xfrm>
            <a:off x="8311487" y="1460169"/>
            <a:ext cx="34011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0" i="0" dirty="0">
                <a:solidFill>
                  <a:srgbClr val="000000"/>
                </a:solidFill>
                <a:effectLst/>
              </a:rPr>
              <a:t>Např.:  Souhlasy se získávají na webu - např. v registraci s možností zanechat e-mail anebo telefonní číslo</a:t>
            </a:r>
            <a:endParaRPr lang="cs-CZ" sz="1000" dirty="0"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F372D3-5A6B-2EEF-B253-5DEDF8C17F69}"/>
              </a:ext>
            </a:extLst>
          </p:cNvPr>
          <p:cNvSpPr txBox="1"/>
          <p:nvPr/>
        </p:nvSpPr>
        <p:spPr>
          <a:xfrm>
            <a:off x="8267282" y="2885650"/>
            <a:ext cx="4202786" cy="561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dirty="0"/>
              <a:t>Např.: Uživatel požádá o nabídku produktů na webu, </a:t>
            </a:r>
          </a:p>
          <a:p>
            <a:r>
              <a:rPr lang="cs-CZ" sz="1000" b="0" i="0" dirty="0">
                <a:solidFill>
                  <a:srgbClr val="000000"/>
                </a:solidFill>
                <a:effectLst/>
              </a:rPr>
              <a:t>nabídky jednorázových akcí - výhodných balení, </a:t>
            </a:r>
          </a:p>
          <a:p>
            <a:r>
              <a:rPr lang="cs-CZ" sz="1000" b="0" i="0" dirty="0">
                <a:solidFill>
                  <a:srgbClr val="000000"/>
                </a:solidFill>
                <a:effectLst/>
              </a:rPr>
              <a:t>popř. jednorázových slev s časovým omezením</a:t>
            </a:r>
            <a:endParaRPr lang="cs-CZ" sz="1000" dirty="0">
              <a:highlight>
                <a:srgbClr val="FFFF00"/>
              </a:highlight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9F94C1-AA16-FAC9-FFA9-681C844B5553}"/>
              </a:ext>
            </a:extLst>
          </p:cNvPr>
          <p:cNvSpPr txBox="1"/>
          <p:nvPr/>
        </p:nvSpPr>
        <p:spPr>
          <a:xfrm>
            <a:off x="8253218" y="5761070"/>
            <a:ext cx="43130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dirty="0"/>
              <a:t>Např.: Děkujeme. Jste odhlášeni z uživatelské databáz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5D85D6C-18E6-274F-4108-1C874255D5D4}"/>
              </a:ext>
            </a:extLst>
          </p:cNvPr>
          <p:cNvSpPr txBox="1"/>
          <p:nvPr/>
        </p:nvSpPr>
        <p:spPr>
          <a:xfrm>
            <a:off x="8311487" y="4308987"/>
            <a:ext cx="3611040" cy="4078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0" i="0" dirty="0">
                <a:solidFill>
                  <a:srgbClr val="000000"/>
                </a:solidFill>
                <a:effectLst/>
              </a:rPr>
              <a:t>Např.: </a:t>
            </a:r>
            <a:r>
              <a:rPr lang="cs-CZ" sz="1000" dirty="0"/>
              <a:t>primární</a:t>
            </a:r>
            <a:r>
              <a:rPr lang="cs-CZ" sz="1000" b="0" i="0" dirty="0">
                <a:solidFill>
                  <a:srgbClr val="000000"/>
                </a:solidFill>
                <a:effectLst/>
              </a:rPr>
              <a:t> - přechod na </a:t>
            </a:r>
            <a:r>
              <a:rPr lang="cs-CZ" sz="1000" b="0" i="0" dirty="0" err="1">
                <a:solidFill>
                  <a:srgbClr val="000000"/>
                </a:solidFill>
                <a:effectLst/>
              </a:rPr>
              <a:t>subpage</a:t>
            </a:r>
            <a:r>
              <a:rPr lang="cs-CZ" sz="1000" b="0" i="0" dirty="0">
                <a:solidFill>
                  <a:srgbClr val="000000"/>
                </a:solidFill>
                <a:effectLst/>
              </a:rPr>
              <a:t> s informací o nabídce</a:t>
            </a:r>
          </a:p>
          <a:p>
            <a:r>
              <a:rPr lang="cs-CZ" sz="1000" b="0" i="0" dirty="0">
                <a:solidFill>
                  <a:srgbClr val="000000"/>
                </a:solidFill>
                <a:effectLst/>
              </a:rPr>
              <a:t> sekundární - požadavek na odhlášení z obchodních sdělení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151460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65AB20-5881-0054-73D1-C0A8FA69F8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3063D2A-C31A-644D-CC8A-BC64A5287E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41201" y="338260"/>
            <a:ext cx="8358552" cy="6304384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39AC889-38FF-5E3C-D685-C57A804702F7}"/>
              </a:ext>
            </a:extLst>
          </p:cNvPr>
          <p:cNvSpPr txBox="1"/>
          <p:nvPr/>
        </p:nvSpPr>
        <p:spPr>
          <a:xfrm>
            <a:off x="8488908" y="4311400"/>
            <a:ext cx="370268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dirty="0"/>
              <a:t>www stránky, videa nebo obrázky náhledu na agenta. Slouží k posouzení Agenta recenzenty (Google a T-Mobile), před jeho spuštění do ostrého provozu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B108BC-6BAB-D907-D722-FCD203D9E320}"/>
              </a:ext>
            </a:extLst>
          </p:cNvPr>
          <p:cNvSpPr txBox="1"/>
          <p:nvPr/>
        </p:nvSpPr>
        <p:spPr>
          <a:xfrm>
            <a:off x="8488908" y="2432008"/>
            <a:ext cx="27582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0" i="0" dirty="0">
                <a:solidFill>
                  <a:srgbClr val="000000"/>
                </a:solidFill>
                <a:effectLst/>
              </a:rPr>
              <a:t>Přístup lze získat na webu - např. v registraci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341389789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65AB20-5881-0054-73D1-C0A8FA69F8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8575" y="349681"/>
            <a:ext cx="7520082" cy="373650"/>
          </a:xfrm>
        </p:spPr>
        <p:txBody>
          <a:bodyPr/>
          <a:lstStyle/>
          <a:p>
            <a:r>
              <a:rPr lang="cs-CZ" sz="3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Výběr operátora mobilní sítě</a:t>
            </a:r>
            <a:endParaRPr lang="en-US" sz="36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2957B59-6955-3140-DC92-BC76EEA380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575" y="1079952"/>
            <a:ext cx="10854849" cy="4214914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623585E-E4A1-46ED-807E-D2F031513B0B}"/>
              </a:ext>
            </a:extLst>
          </p:cNvPr>
          <p:cNvSpPr/>
          <p:nvPr/>
        </p:nvSpPr>
        <p:spPr>
          <a:xfrm>
            <a:off x="10206677" y="1279897"/>
            <a:ext cx="1062504" cy="324181"/>
          </a:xfrm>
          <a:prstGeom prst="roundRect">
            <a:avLst/>
          </a:prstGeom>
          <a:noFill/>
          <a:ln w="28575"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A5F1A23A-C2B8-4D14-AA8B-936270864054}"/>
              </a:ext>
            </a:extLst>
          </p:cNvPr>
          <p:cNvSpPr/>
          <p:nvPr/>
        </p:nvSpPr>
        <p:spPr>
          <a:xfrm rot="16200000">
            <a:off x="10333752" y="2018564"/>
            <a:ext cx="808355" cy="379272"/>
          </a:xfrm>
          <a:prstGeom prst="rightArrow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229167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184957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AF3E64-DCB5-DC07-DED2-B0E70B6B2F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174" y="316148"/>
            <a:ext cx="10839450" cy="5829721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FF0FB03-4977-4B5E-B487-65E8631045AC}"/>
              </a:ext>
            </a:extLst>
          </p:cNvPr>
          <p:cNvSpPr/>
          <p:nvPr/>
        </p:nvSpPr>
        <p:spPr>
          <a:xfrm>
            <a:off x="10745656" y="556533"/>
            <a:ext cx="810504" cy="333996"/>
          </a:xfrm>
          <a:prstGeom prst="roundRect">
            <a:avLst/>
          </a:prstGeom>
          <a:noFill/>
          <a:ln w="28575"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3B7643-D9D9-4CCC-A461-CBFC0CB92A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A4D9FE1-0135-4626-ADAE-1E216A7DAA11}"/>
              </a:ext>
            </a:extLst>
          </p:cNvPr>
          <p:cNvSpPr/>
          <p:nvPr/>
        </p:nvSpPr>
        <p:spPr>
          <a:xfrm>
            <a:off x="7599954" y="5585175"/>
            <a:ext cx="1325682" cy="269715"/>
          </a:xfrm>
          <a:prstGeom prst="round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AD760659-3B22-4724-ACF7-82A40E6120C1}"/>
              </a:ext>
            </a:extLst>
          </p:cNvPr>
          <p:cNvSpPr/>
          <p:nvPr/>
        </p:nvSpPr>
        <p:spPr>
          <a:xfrm rot="16200000">
            <a:off x="10788085" y="1201775"/>
            <a:ext cx="808355" cy="379272"/>
          </a:xfrm>
          <a:prstGeom prst="rightArrow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9985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FC282F-8766-5610-9669-B9B788BF84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31933" y="636621"/>
            <a:ext cx="4528133" cy="6069944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73C7E8B2-53FF-430C-AFB0-C07946736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405000"/>
            <a:ext cx="11233248" cy="498598"/>
          </a:xfrm>
        </p:spPr>
        <p:txBody>
          <a:bodyPr vert="horz"/>
          <a:lstStyle/>
          <a:p>
            <a:pPr algn="ctr"/>
            <a:r>
              <a:rPr lang="cs-CZ" dirty="0">
                <a:solidFill>
                  <a:srgbClr val="5AB4C8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řihlášení – účty Google</a:t>
            </a:r>
            <a:endParaRPr lang="cs-CZ" dirty="0">
              <a:solidFill>
                <a:srgbClr val="5AB4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6328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65AB20-5881-0054-73D1-C0A8FA69F8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632" y="5359065"/>
            <a:ext cx="7786527" cy="402473"/>
          </a:xfrm>
        </p:spPr>
        <p:txBody>
          <a:bodyPr/>
          <a:lstStyle/>
          <a:p>
            <a:r>
              <a:rPr lang="cs-CZ" sz="1600" dirty="0">
                <a:solidFill>
                  <a:srgbClr val="E20074"/>
                </a:solidFill>
              </a:rPr>
              <a:t>T-Mobile dá následně zákazníkovi na vědomí, že byl Agent schválen, nebo zamítnut.</a:t>
            </a:r>
            <a:endParaRPr lang="en-US" sz="1600" dirty="0">
              <a:solidFill>
                <a:srgbClr val="E20074"/>
              </a:solidFill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1ECCAB-718E-2506-0547-6D1FB42F11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632" y="622500"/>
            <a:ext cx="11080992" cy="4679198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23675869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413E9D0-FDE3-471A-BC42-6812FE297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14" y="2571551"/>
            <a:ext cx="4204702" cy="498598"/>
          </a:xfrm>
        </p:spPr>
        <p:txBody>
          <a:bodyPr/>
          <a:lstStyle/>
          <a:p>
            <a:r>
              <a:rPr lang="cs-CZ" dirty="0"/>
              <a:t>Testování Agenta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1021FE82-A39D-4106-9302-7478145AA850}"/>
              </a:ext>
            </a:extLst>
          </p:cNvPr>
          <p:cNvSpPr/>
          <p:nvPr/>
        </p:nvSpPr>
        <p:spPr>
          <a:xfrm>
            <a:off x="5486400" y="-1"/>
            <a:ext cx="6705599" cy="6858001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pic>
        <p:nvPicPr>
          <p:cNvPr id="3" name="Graphic 2" descr="Checklist RTL">
            <a:extLst>
              <a:ext uri="{FF2B5EF4-FFF2-40B4-BE49-F238E27FC236}">
                <a16:creationId xmlns:a16="http://schemas.microsoft.com/office/drawing/2014/main" id="{F0C5F195-CD1C-4C32-BA85-3135A1B013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9045" y="1961866"/>
            <a:ext cx="3150358" cy="3150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1174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136350" y="1872721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DF8092E9-126A-22E0-07FA-6EB80FCC61BA}"/>
              </a:ext>
            </a:extLst>
          </p:cNvPr>
          <p:cNvSpPr txBox="1">
            <a:spLocks/>
          </p:cNvSpPr>
          <p:nvPr/>
        </p:nvSpPr>
        <p:spPr bwMode="gray">
          <a:xfrm>
            <a:off x="11622549" y="6305083"/>
            <a:ext cx="252000" cy="1692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buFontTx/>
              <a:buNone/>
              <a:defRPr/>
            </a:pPr>
            <a:fld id="{A1A5E10D-79A5-49BA-9648-53481340C65F}" type="slidenum">
              <a:rPr lang="en-US" sz="1100" smtClean="0">
                <a:solidFill>
                  <a:prstClr val="black"/>
                </a:solidFill>
                <a:latin typeface="TeleNeo Office"/>
              </a:rPr>
              <a:pPr algn="r">
                <a:lnSpc>
                  <a:spcPct val="100000"/>
                </a:lnSpc>
                <a:buFontTx/>
                <a:buNone/>
                <a:defRPr/>
              </a:pPr>
              <a:t>32</a:t>
            </a:fld>
            <a:endParaRPr lang="en-US" sz="1100">
              <a:solidFill>
                <a:prstClr val="black"/>
              </a:solidFill>
              <a:latin typeface="TeleNeo Office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0E4CAA57-E986-DB6F-0004-41963818CD6F}"/>
              </a:ext>
            </a:extLst>
          </p:cNvPr>
          <p:cNvSpPr txBox="1">
            <a:spLocks/>
          </p:cNvSpPr>
          <p:nvPr/>
        </p:nvSpPr>
        <p:spPr bwMode="gray">
          <a:xfrm>
            <a:off x="641301" y="278103"/>
            <a:ext cx="11233248" cy="553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cs-CZ" dirty="0">
                <a:solidFill>
                  <a:srgbClr val="E20074"/>
                </a:solidFill>
              </a:rPr>
              <a:t>Testovací zařízení Agenta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D4260A84-2B5D-466D-3932-92BD2B907A53}"/>
              </a:ext>
            </a:extLst>
          </p:cNvPr>
          <p:cNvSpPr txBox="1">
            <a:spLocks/>
          </p:cNvSpPr>
          <p:nvPr/>
        </p:nvSpPr>
        <p:spPr bwMode="gray">
          <a:xfrm>
            <a:off x="641301" y="990770"/>
            <a:ext cx="10264824" cy="170816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Po prvním kroku vytvoření nového Agenta v konzoli je možné definovat testovací zařízení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cs-CZ" sz="1400" dirty="0">
                <a:latin typeface="TeleNeo Office ExtraBold"/>
                <a:ea typeface="+mj-ea"/>
                <a:cs typeface="+mj-cs"/>
              </a:rPr>
              <a:t>max. 20 požadavků denně, celkem max. 200 testovacích číse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600" dirty="0">
                <a:solidFill>
                  <a:prstClr val="black"/>
                </a:solidFill>
                <a:latin typeface="TeleNeo Office ExtraBold"/>
              </a:rPr>
              <a:t>Telefonní čísla Android telefonů s aktivní službou RCS chat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cs-CZ" sz="1400" dirty="0">
                <a:solidFill>
                  <a:prstClr val="black"/>
                </a:solidFill>
                <a:latin typeface="TeleNeo Office ExtraBold"/>
                <a:ea typeface="+mj-ea"/>
                <a:cs typeface="+mj-cs"/>
              </a:rPr>
              <a:t>při zakládání musí být telefonní číslo pro RCS dostupné (zapnutý telefon, konektivita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Na telefon je automaticky odeslána zpráva s žádostí o potvrzení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Po potvrzení lze z konzole odeslat testovací zprávu Agenta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eleNeo Office ExtraBold"/>
                <a:ea typeface="+mj-ea"/>
                <a:cs typeface="+mj-cs"/>
              </a:rPr>
              <a:t>Zprávy na testovací zařízení jsou zdarma, </a:t>
            </a:r>
            <a:r>
              <a:rPr lang="cs-CZ" sz="1600" dirty="0">
                <a:latin typeface="TeleNeo Office ExtraBold"/>
              </a:rPr>
              <a:t>A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eleNeo Office ExtraBold"/>
                <a:ea typeface="+mj-ea"/>
                <a:cs typeface="+mj-cs"/>
              </a:rPr>
              <a:t>gent nemusí být schválený, nemusí existovat smlouva s operátorem</a:t>
            </a:r>
            <a:endParaRPr lang="cs-CZ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eleNeo Office ExtraBold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290A2D-2B48-555F-4BA7-7E661DC2A9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2738" y="3103820"/>
            <a:ext cx="6894238" cy="2999272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EA16DCF-B7F2-12FC-71FE-8C4478D7FC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00003" y="3083834"/>
            <a:ext cx="3664971" cy="3039244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10122884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44ABC2CA-AAF2-D6CA-C7D7-2F583B15D41B}"/>
              </a:ext>
            </a:extLst>
          </p:cNvPr>
          <p:cNvSpPr txBox="1">
            <a:spLocks/>
          </p:cNvSpPr>
          <p:nvPr/>
        </p:nvSpPr>
        <p:spPr bwMode="gray">
          <a:xfrm>
            <a:off x="11460624" y="6535237"/>
            <a:ext cx="252000" cy="1692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buFontTx/>
              <a:buNone/>
              <a:defRPr/>
            </a:pPr>
            <a:fld id="{A1A5E10D-79A5-49BA-9648-53481340C65F}" type="slidenum">
              <a:rPr lang="en-US" sz="1100" smtClean="0">
                <a:solidFill>
                  <a:prstClr val="black"/>
                </a:solidFill>
                <a:latin typeface="TeleNeo Office"/>
              </a:rPr>
              <a:pPr algn="r">
                <a:lnSpc>
                  <a:spcPct val="100000"/>
                </a:lnSpc>
                <a:buFontTx/>
                <a:buNone/>
                <a:defRPr/>
              </a:pPr>
              <a:t>33</a:t>
            </a:fld>
            <a:endParaRPr lang="en-US" sz="1100">
              <a:solidFill>
                <a:prstClr val="black"/>
              </a:solidFill>
              <a:latin typeface="TeleNeo Office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E95E285D-17BE-CE4C-7136-1D29B50E12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412" y="429876"/>
            <a:ext cx="11233248" cy="553998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cs-CZ" sz="3600" dirty="0">
                <a:solidFill>
                  <a:srgbClr val="E20074"/>
                </a:solidFill>
              </a:rPr>
              <a:t>Příklady Agentů Goog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E1F5F39B-1CC4-860B-3EF6-1BE1ACAFDC4C}"/>
              </a:ext>
            </a:extLst>
          </p:cNvPr>
          <p:cNvSpPr txBox="1">
            <a:spLocks/>
          </p:cNvSpPr>
          <p:nvPr/>
        </p:nvSpPr>
        <p:spPr bwMode="gray">
          <a:xfrm>
            <a:off x="666412" y="1149595"/>
            <a:ext cx="10264824" cy="98488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Pro otestování reálného provozu Agenta lze využít příklady od Google</a:t>
            </a:r>
          </a:p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5"/>
              </a:rPr>
              <a:t>https://developers.google.com/business-communications/rcs-business-messaging/samples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Zprávy na testovací zařízení jsou zdarma, agent nemusí být schválený ani existovat smlouva s operátorem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49039AD-9DC4-310F-7E99-0E1FBCB460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6281" y="2134480"/>
            <a:ext cx="8333509" cy="3948400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9067920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2FD691F3-8769-D590-A807-1DA4ED6D1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405000"/>
            <a:ext cx="11233248" cy="553998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cs-CZ" sz="3600" dirty="0">
                <a:solidFill>
                  <a:srgbClr val="E20074"/>
                </a:solidFill>
              </a:rPr>
              <a:t>Testování s T-Mobi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40AC42E4-6307-3A7A-7E96-AC6C57E1F130}"/>
              </a:ext>
            </a:extLst>
          </p:cNvPr>
          <p:cNvSpPr txBox="1">
            <a:spLocks/>
          </p:cNvSpPr>
          <p:nvPr/>
        </p:nvSpPr>
        <p:spPr bwMode="gray">
          <a:xfrm>
            <a:off x="479376" y="1197620"/>
            <a:ext cx="10264824" cy="297004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T-Mobile vám přináší možnost otestovat reálný provoz ve spolupráci s partnery poskytujícími řešení pro kampaně a chatboty s využitím </a:t>
            </a:r>
            <a:r>
              <a:rPr lang="cs-CZ" sz="1800" dirty="0">
                <a:solidFill>
                  <a:prstClr val="black"/>
                </a:solidFill>
                <a:latin typeface="TeleNeo Office ExtraBold"/>
              </a:rPr>
              <a:t>umělé inteligence (AI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 ExtraBold"/>
              <a:ea typeface="+mj-ea"/>
              <a:cs typeface="+mj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Analýza zadání, disponibilních vstupů a očekávaných výstup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Definice komunikačního schématu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Ověření komunikac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 ExtraBold"/>
                <a:ea typeface="+mj-ea"/>
                <a:cs typeface="+mj-cs"/>
              </a:rPr>
              <a:t>Spuštění kampaně na definovanou dobu a skupinu koncových uživatelů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 ExtraBold"/>
              <a:ea typeface="+mj-ea"/>
              <a:cs typeface="+mj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 ExtraBold"/>
              <a:ea typeface="+mj-ea"/>
              <a:cs typeface="+mj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1743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3C100761-239A-F0C6-CCC9-56DC9B5F13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053" y="476117"/>
            <a:ext cx="11233248" cy="498598"/>
          </a:xfrm>
        </p:spPr>
        <p:txBody>
          <a:bodyPr/>
          <a:lstStyle/>
          <a:p>
            <a:r>
              <a:rPr lang="cs-CZ" dirty="0"/>
              <a:t>Odkazy Goog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A8B6EB-139F-FC36-FF91-F471D5E32F16}"/>
              </a:ext>
            </a:extLst>
          </p:cNvPr>
          <p:cNvSpPr txBox="1"/>
          <p:nvPr/>
        </p:nvSpPr>
        <p:spPr>
          <a:xfrm>
            <a:off x="626053" y="1380943"/>
            <a:ext cx="6198176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5"/>
              </a:rPr>
              <a:t>https://developers.google.com/business-communications/rcs-business-messaging/reference/rest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6"/>
              </a:rPr>
              <a:t>https://developers.google.com/business-communications/rcs-business-messaging/samples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7"/>
              </a:rPr>
              <a:t>https://developers.google.com/business-communications/rcs-business-messaging/guides/get-started/how-it-works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8876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1021FE82-A39D-4106-9302-7478145AA850}"/>
              </a:ext>
            </a:extLst>
          </p:cNvPr>
          <p:cNvSpPr/>
          <p:nvPr/>
        </p:nvSpPr>
        <p:spPr>
          <a:xfrm>
            <a:off x="5775158" y="0"/>
            <a:ext cx="6705599" cy="6858001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413E9D0-FDE3-471A-BC42-6812FE297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13" y="2571551"/>
            <a:ext cx="8121815" cy="1128252"/>
          </a:xfrm>
        </p:spPr>
        <p:txBody>
          <a:bodyPr/>
          <a:lstStyle/>
          <a:p>
            <a:r>
              <a:rPr lang="cs-CZ" dirty="0"/>
              <a:t>Vytvoření Partnerského účtu Agent </a:t>
            </a:r>
            <a:r>
              <a:rPr lang="cs-CZ" dirty="0" err="1"/>
              <a:t>owner</a:t>
            </a:r>
            <a:endParaRPr lang="cs-CZ" dirty="0"/>
          </a:p>
        </p:txBody>
      </p:sp>
      <p:pic>
        <p:nvPicPr>
          <p:cNvPr id="3" name="Graphic 2" descr="List RTL">
            <a:extLst>
              <a:ext uri="{FF2B5EF4-FFF2-40B4-BE49-F238E27FC236}">
                <a16:creationId xmlns:a16="http://schemas.microsoft.com/office/drawing/2014/main" id="{22C7AEE4-633B-4F3D-B85C-6111FA748C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64947" y="2296551"/>
            <a:ext cx="3139440" cy="3139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384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65AB20-5881-0054-73D1-C0A8FA69F8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CB9EBA3-2417-822D-BFCC-3CC8FF8DA34A}"/>
              </a:ext>
            </a:extLst>
          </p:cNvPr>
          <p:cNvSpPr txBox="1">
            <a:spLocks/>
          </p:cNvSpPr>
          <p:nvPr/>
        </p:nvSpPr>
        <p:spPr bwMode="gray">
          <a:xfrm>
            <a:off x="305938" y="419205"/>
            <a:ext cx="10515600" cy="4985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dirty="0">
                <a:solidFill>
                  <a:srgbClr val="5AB4C8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siness Communications (google.com)</a:t>
            </a:r>
            <a:endParaRPr lang="cs-CZ" dirty="0">
              <a:solidFill>
                <a:srgbClr val="5AB4C8"/>
              </a:solidFill>
            </a:endParaRPr>
          </a:p>
        </p:txBody>
      </p:sp>
      <p:pic>
        <p:nvPicPr>
          <p:cNvPr id="6" name="Content Placeholder 9">
            <a:extLst>
              <a:ext uri="{FF2B5EF4-FFF2-40B4-BE49-F238E27FC236}">
                <a16:creationId xmlns:a16="http://schemas.microsoft.com/office/drawing/2014/main" id="{74208F99-AFD7-405B-3042-68F575A04D3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1871698" y="1201204"/>
            <a:ext cx="8448603" cy="5182367"/>
          </a:xfrm>
          <a:ln w="28575">
            <a:noFill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9506177-2D38-45BD-81A3-768254B4716B}"/>
              </a:ext>
            </a:extLst>
          </p:cNvPr>
          <p:cNvSpPr/>
          <p:nvPr/>
        </p:nvSpPr>
        <p:spPr>
          <a:xfrm>
            <a:off x="6562041" y="3300707"/>
            <a:ext cx="1298651" cy="609556"/>
          </a:xfrm>
          <a:prstGeom prst="roundRect">
            <a:avLst/>
          </a:prstGeom>
          <a:noFill/>
          <a:ln w="28575"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333DBCA4-C050-426A-B7DA-09B47ACA0350}"/>
              </a:ext>
            </a:extLst>
          </p:cNvPr>
          <p:cNvSpPr/>
          <p:nvPr/>
        </p:nvSpPr>
        <p:spPr>
          <a:xfrm>
            <a:off x="5676352" y="3429000"/>
            <a:ext cx="808355" cy="379272"/>
          </a:xfrm>
          <a:prstGeom prst="rightArrow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93451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65AB20-5881-0054-73D1-C0A8FA69F8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305" y="318092"/>
            <a:ext cx="11640457" cy="80384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2800" dirty="0">
                <a:solidFill>
                  <a:srgbClr val="E20074"/>
                </a:solidFill>
                <a:latin typeface="+mj-lt"/>
                <a:ea typeface="+mj-ea"/>
                <a:cs typeface="+mj-cs"/>
              </a:rPr>
              <a:t>Požadavky na vyplnění údajů RCS Business </a:t>
            </a:r>
            <a:r>
              <a:rPr lang="cs-CZ" sz="2800" dirty="0" err="1">
                <a:solidFill>
                  <a:srgbClr val="E20074"/>
                </a:solidFill>
                <a:latin typeface="+mj-lt"/>
                <a:ea typeface="+mj-ea"/>
                <a:cs typeface="+mj-cs"/>
              </a:rPr>
              <a:t>Messaging</a:t>
            </a:r>
            <a:r>
              <a:rPr lang="cs-CZ" sz="2800" dirty="0">
                <a:solidFill>
                  <a:srgbClr val="E20074"/>
                </a:solidFill>
                <a:latin typeface="+mj-lt"/>
                <a:ea typeface="+mj-ea"/>
                <a:cs typeface="+mj-cs"/>
              </a:rPr>
              <a:t> partnera (Agent </a:t>
            </a:r>
            <a:r>
              <a:rPr lang="cs-CZ" sz="2800" dirty="0" err="1">
                <a:solidFill>
                  <a:srgbClr val="E20074"/>
                </a:solidFill>
                <a:latin typeface="+mj-lt"/>
                <a:ea typeface="+mj-ea"/>
                <a:cs typeface="+mj-cs"/>
              </a:rPr>
              <a:t>owner</a:t>
            </a:r>
            <a:r>
              <a:rPr lang="cs-CZ" sz="2800" dirty="0">
                <a:solidFill>
                  <a:srgbClr val="E20074"/>
                </a:solidFill>
                <a:latin typeface="+mj-lt"/>
                <a:ea typeface="+mj-ea"/>
                <a:cs typeface="+mj-cs"/>
              </a:rPr>
              <a:t>)</a:t>
            </a:r>
            <a:endParaRPr lang="en-US" sz="2800" dirty="0">
              <a:solidFill>
                <a:srgbClr val="E20074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27D1875-2722-475E-B668-FF2D0E5F7A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5455" y="1036206"/>
            <a:ext cx="9136608" cy="4785587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2254BE9-21E0-05F0-D60F-C51AFB2060CF}"/>
              </a:ext>
            </a:extLst>
          </p:cNvPr>
          <p:cNvSpPr/>
          <p:nvPr/>
        </p:nvSpPr>
        <p:spPr>
          <a:xfrm>
            <a:off x="4151654" y="4058697"/>
            <a:ext cx="3312694" cy="1543886"/>
          </a:xfrm>
          <a:prstGeom prst="roundRect">
            <a:avLst/>
          </a:prstGeom>
          <a:noFill/>
          <a:ln w="28575"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826925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65AB20-5881-0054-73D1-C0A8FA69F8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88944" y="291063"/>
            <a:ext cx="9569341" cy="687320"/>
          </a:xfrm>
        </p:spPr>
        <p:txBody>
          <a:bodyPr/>
          <a:lstStyle/>
          <a:p>
            <a:r>
              <a:rPr lang="cs-CZ" sz="2800" dirty="0">
                <a:solidFill>
                  <a:srgbClr val="E20074"/>
                </a:solidFill>
                <a:latin typeface="+mj-lt"/>
                <a:ea typeface="+mj-ea"/>
                <a:cs typeface="+mj-cs"/>
              </a:rPr>
              <a:t>Registrace RCS Business </a:t>
            </a:r>
            <a:r>
              <a:rPr lang="cs-CZ" sz="2800" dirty="0" err="1">
                <a:solidFill>
                  <a:srgbClr val="E20074"/>
                </a:solidFill>
                <a:latin typeface="+mj-lt"/>
                <a:ea typeface="+mj-ea"/>
                <a:cs typeface="+mj-cs"/>
              </a:rPr>
              <a:t>Messaging</a:t>
            </a:r>
            <a:r>
              <a:rPr lang="cs-CZ" sz="2800" dirty="0">
                <a:solidFill>
                  <a:srgbClr val="E20074"/>
                </a:solidFill>
                <a:latin typeface="+mj-lt"/>
                <a:ea typeface="+mj-ea"/>
                <a:cs typeface="+mj-cs"/>
              </a:rPr>
              <a:t> partnera (Agent </a:t>
            </a:r>
            <a:r>
              <a:rPr lang="cs-CZ" sz="2800" dirty="0" err="1">
                <a:solidFill>
                  <a:srgbClr val="E20074"/>
                </a:solidFill>
                <a:latin typeface="+mj-lt"/>
                <a:ea typeface="+mj-ea"/>
                <a:cs typeface="+mj-cs"/>
              </a:rPr>
              <a:t>owner</a:t>
            </a:r>
            <a:r>
              <a:rPr lang="cs-CZ" sz="2800" dirty="0">
                <a:solidFill>
                  <a:srgbClr val="E20074"/>
                </a:solidFill>
                <a:latin typeface="+mj-lt"/>
                <a:ea typeface="+mj-ea"/>
                <a:cs typeface="+mj-cs"/>
              </a:rPr>
              <a:t>)</a:t>
            </a:r>
            <a:endParaRPr lang="en-US" sz="2800" dirty="0">
              <a:solidFill>
                <a:srgbClr val="E20074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251910-766E-D496-1C62-1C0BDD674B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2738" y="1543886"/>
            <a:ext cx="4169595" cy="401198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A00F421-8601-F96E-805A-A33AC23BDC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05926" y="1543886"/>
            <a:ext cx="3554626" cy="271541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6A285B6-E6EF-BC07-9C87-B59797FA0276}"/>
              </a:ext>
            </a:extLst>
          </p:cNvPr>
          <p:cNvSpPr txBox="1"/>
          <p:nvPr/>
        </p:nvSpPr>
        <p:spPr>
          <a:xfrm>
            <a:off x="6800115" y="2079593"/>
            <a:ext cx="9582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dirty="0"/>
              <a:t>Příjmení odpovědné osob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E001CC-74DD-B92C-9F6A-744F4A99217E}"/>
              </a:ext>
            </a:extLst>
          </p:cNvPr>
          <p:cNvSpPr txBox="1"/>
          <p:nvPr/>
        </p:nvSpPr>
        <p:spPr>
          <a:xfrm>
            <a:off x="6800115" y="2990570"/>
            <a:ext cx="9582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dirty="0"/>
              <a:t>Pracovní pozice odpovědné osob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AB03FA9-841B-01EA-E87C-AF683F44D2B5}"/>
              </a:ext>
            </a:extLst>
          </p:cNvPr>
          <p:cNvSpPr txBox="1"/>
          <p:nvPr/>
        </p:nvSpPr>
        <p:spPr>
          <a:xfrm>
            <a:off x="6800115" y="3832948"/>
            <a:ext cx="9582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dirty="0"/>
              <a:t>Firemní email odpovědné osob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95447B-E455-E297-B241-C1D36960E2B2}"/>
              </a:ext>
            </a:extLst>
          </p:cNvPr>
          <p:cNvSpPr txBox="1"/>
          <p:nvPr/>
        </p:nvSpPr>
        <p:spPr>
          <a:xfrm>
            <a:off x="6800115" y="4724488"/>
            <a:ext cx="9582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dirty="0"/>
              <a:t>Email, který byl uveden při zřízení firemního profilu na Google</a:t>
            </a:r>
          </a:p>
        </p:txBody>
      </p:sp>
      <p:pic>
        <p:nvPicPr>
          <p:cNvPr id="12" name="Content Placeholder 1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80DCD04-0F46-C103-CADD-97BF78BB8DA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236" y="1551880"/>
            <a:ext cx="3905646" cy="4014481"/>
          </a:xfr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99C4D0D-F7A9-CBF3-4182-400CCF725C39}"/>
              </a:ext>
            </a:extLst>
          </p:cNvPr>
          <p:cNvSpPr txBox="1"/>
          <p:nvPr/>
        </p:nvSpPr>
        <p:spPr>
          <a:xfrm>
            <a:off x="2478866" y="3484498"/>
            <a:ext cx="9582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dirty="0"/>
              <a:t>Název firmy vlastnící Agent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C102FF7-92A0-FC6F-150B-B682662C77D5}"/>
              </a:ext>
            </a:extLst>
          </p:cNvPr>
          <p:cNvSpPr txBox="1"/>
          <p:nvPr/>
        </p:nvSpPr>
        <p:spPr>
          <a:xfrm>
            <a:off x="2437923" y="4967566"/>
            <a:ext cx="9582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800" dirty="0"/>
              <a:t>Křestní jméno odpovědné osoby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2553BB0-BF61-4372-ADBF-EA3C373561DD}"/>
              </a:ext>
            </a:extLst>
          </p:cNvPr>
          <p:cNvSpPr/>
          <p:nvPr/>
        </p:nvSpPr>
        <p:spPr>
          <a:xfrm>
            <a:off x="8507062" y="2971554"/>
            <a:ext cx="662772" cy="357570"/>
          </a:xfrm>
          <a:prstGeom prst="roundRect">
            <a:avLst/>
          </a:prstGeom>
          <a:noFill/>
          <a:ln w="28575">
            <a:solidFill>
              <a:srgbClr val="E200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F0F5039E-3658-40F6-9E5A-6D553D55D750}"/>
              </a:ext>
            </a:extLst>
          </p:cNvPr>
          <p:cNvSpPr/>
          <p:nvPr/>
        </p:nvSpPr>
        <p:spPr>
          <a:xfrm>
            <a:off x="7656342" y="2991996"/>
            <a:ext cx="808355" cy="379272"/>
          </a:xfrm>
          <a:prstGeom prst="rightArrow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343813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A58452-26A1-6CFB-D4DE-28777F71AC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1A58452-26A1-6CFB-D4DE-28777F71A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E65AB20-5881-0054-73D1-C0A8FA69F8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01627" y="377833"/>
            <a:ext cx="8788744" cy="517575"/>
          </a:xfrm>
        </p:spPr>
        <p:txBody>
          <a:bodyPr/>
          <a:lstStyle/>
          <a:p>
            <a:r>
              <a:rPr lang="cs-CZ" sz="2800" dirty="0">
                <a:solidFill>
                  <a:srgbClr val="E20074"/>
                </a:solidFill>
                <a:latin typeface="+mj-lt"/>
                <a:ea typeface="+mj-ea"/>
                <a:cs typeface="+mj-cs"/>
              </a:rPr>
              <a:t>Potvrzení o odeslání registračního dokumentu Agent </a:t>
            </a:r>
            <a:r>
              <a:rPr lang="cs-CZ" sz="2800" dirty="0" err="1">
                <a:solidFill>
                  <a:srgbClr val="E20074"/>
                </a:solidFill>
                <a:latin typeface="+mj-lt"/>
                <a:ea typeface="+mj-ea"/>
                <a:cs typeface="+mj-cs"/>
              </a:rPr>
              <a:t>owner</a:t>
            </a:r>
            <a:endParaRPr lang="en-US" sz="2800" dirty="0">
              <a:solidFill>
                <a:srgbClr val="E20074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F360753A-4C0A-18E1-61AC-663715CB34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60624" y="6535237"/>
            <a:ext cx="2520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5E10D-79A5-49BA-9648-53481340C65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20A75D5A-2051-4B1F-BD33-12D446DE3687}"/>
              </a:ext>
            </a:extLst>
          </p:cNvPr>
          <p:cNvSpPr txBox="1">
            <a:spLocks/>
          </p:cNvSpPr>
          <p:nvPr/>
        </p:nvSpPr>
        <p:spPr bwMode="gray">
          <a:xfrm>
            <a:off x="6384000" y="2396596"/>
            <a:ext cx="5328624" cy="38247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2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  <a:p>
            <a:pPr marL="288000" marR="0" lvl="3" indent="-14400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 typeface="TeleNeo Office" panose="020B0504040202090203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54EAD1A-3468-BFD3-A247-D03E7F553E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01627" y="1243446"/>
            <a:ext cx="7441087" cy="4098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8394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1021FE82-A39D-4106-9302-7478145AA850}"/>
              </a:ext>
            </a:extLst>
          </p:cNvPr>
          <p:cNvSpPr/>
          <p:nvPr/>
        </p:nvSpPr>
        <p:spPr>
          <a:xfrm>
            <a:off x="6050096" y="-1"/>
            <a:ext cx="6705599" cy="6858001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pic>
        <p:nvPicPr>
          <p:cNvPr id="3" name="Graphic 2" descr="User network">
            <a:extLst>
              <a:ext uri="{FF2B5EF4-FFF2-40B4-BE49-F238E27FC236}">
                <a16:creationId xmlns:a16="http://schemas.microsoft.com/office/drawing/2014/main" id="{562A1985-81C0-4DA9-B1AA-DEA5419F3F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3819" y="1894763"/>
            <a:ext cx="3400568" cy="3400568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3413E9D0-FDE3-471A-BC42-6812FE297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13" y="2571550"/>
            <a:ext cx="6022369" cy="1522777"/>
          </a:xfrm>
        </p:spPr>
        <p:txBody>
          <a:bodyPr/>
          <a:lstStyle/>
          <a:p>
            <a:pPr marL="0" indent="0"/>
            <a:r>
              <a:rPr lang="cs-CZ" dirty="0"/>
              <a:t>Vytváření jednotlivých Agentů</a:t>
            </a:r>
            <a:br>
              <a:rPr lang="cs-CZ" dirty="0"/>
            </a:br>
            <a:r>
              <a:rPr lang="cs-CZ" dirty="0"/>
              <a:t>(developer konzole)</a:t>
            </a:r>
          </a:p>
        </p:txBody>
      </p:sp>
    </p:spTree>
    <p:extLst>
      <p:ext uri="{BB962C8B-B14F-4D97-AF65-F5344CB8AC3E}">
        <p14:creationId xmlns:p14="http://schemas.microsoft.com/office/powerpoint/2010/main" val="2502116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-Business Basic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elekom_Master_Puzzle_Shape_022122_EN_V01.potx" id="{3D04C73A-4A37-4630-85F9-FFBB53A96562}" vid="{A3C312A6-BE62-4B18-B154-C4C85E7EF779}"/>
    </a:ext>
  </a:extLst>
</a:theme>
</file>

<file path=ppt/theme/theme3.xml><?xml version="1.0" encoding="utf-8"?>
<a:theme xmlns:a="http://schemas.openxmlformats.org/drawingml/2006/main" name="T-business Title">
  <a:themeElements>
    <a:clrScheme name="Telekom Liquid Master">
      <a:dk1>
        <a:sysClr val="windowText" lastClr="000000"/>
      </a:dk1>
      <a:lt1>
        <a:sysClr val="window" lastClr="FFFFFF"/>
      </a:lt1>
      <a:dk2>
        <a:srgbClr val="E20074"/>
      </a:dk2>
      <a:lt2>
        <a:srgbClr val="A3A3A3"/>
      </a:lt2>
      <a:accent1>
        <a:srgbClr val="32B9AF"/>
      </a:accent1>
      <a:accent2>
        <a:srgbClr val="A4DEEE"/>
      </a:accent2>
      <a:accent3>
        <a:srgbClr val="ECCCBF"/>
      </a:accent3>
      <a:accent4>
        <a:srgbClr val="F0E68C"/>
      </a:accent4>
      <a:accent5>
        <a:srgbClr val="00A8E6"/>
      </a:accent5>
      <a:accent6>
        <a:srgbClr val="6E648C"/>
      </a:accent6>
      <a:hlink>
        <a:srgbClr val="00739F"/>
      </a:hlink>
      <a:folHlink>
        <a:srgbClr val="00739F"/>
      </a:folHlink>
    </a:clrScheme>
    <a:fontScheme name="Deutsche Telekom Liquid Master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44000" indent="-144000" algn="l">
          <a:buClr>
            <a:schemeClr val="tx2"/>
          </a:buClr>
          <a:buSzPct val="100000"/>
          <a:buFont typeface="TeleNeo Office" panose="020B0504040202090203" pitchFamily="34" charset="0"/>
          <a:buChar char="•"/>
          <a:defRPr smtClean="0"/>
        </a:defPPr>
      </a:lstStyle>
    </a:txDef>
  </a:objectDefaults>
  <a:extraClrSchemeLst/>
  <a:custClrLst>
    <a:custClr name="Smaragd">
      <a:srgbClr val="078C82"/>
    </a:custClr>
    <a:custClr name="Ozean">
      <a:srgbClr val="5AB4C8"/>
    </a:custClr>
    <a:custClr name="Cappuccino">
      <a:srgbClr val="BD968C"/>
    </a:custClr>
    <a:custClr name="Curry">
      <a:srgbClr val="C8B45A"/>
    </a:custClr>
    <a:custClr name="Jeans">
      <a:srgbClr val="0478BE"/>
    </a:custClr>
    <a:custClr name="Aubergine">
      <a:srgbClr val="3C325A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Mint">
      <a:srgbClr val="86CBC4"/>
    </a:custClr>
    <a:custClr name="Himmel">
      <a:srgbClr val="CBE8F4"/>
    </a:custClr>
    <a:custClr name="Pfirsich">
      <a:srgbClr val="FAE2D8"/>
    </a:custClr>
    <a:custClr name="Vanille">
      <a:srgbClr val="F5EBAF"/>
    </a:custClr>
    <a:custClr name="Azur">
      <a:srgbClr val="45C1F1"/>
    </a:custClr>
    <a:custClr name="Flieder">
      <a:srgbClr val="9C9BB9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Grau 38">
      <a:srgbClr val="262626"/>
    </a:custClr>
    <a:custClr name="Grau 75">
      <a:srgbClr val="4B4B4B"/>
    </a:custClr>
    <a:custClr name="Grau 115">
      <a:srgbClr val="737373"/>
    </a:custClr>
    <a:custClr name="Grau 178">
      <a:srgbClr val="B2B2B2"/>
    </a:custClr>
    <a:custClr name="Grau 220">
      <a:srgbClr val="DCDCDC"/>
    </a:custClr>
    <a:custClr name="Leer">
      <a:srgbClr val="FFFFFF"/>
    </a:custClr>
    <a:custClr name="Leer">
      <a:srgbClr val="FFFFFF"/>
    </a:custClr>
    <a:custClr name="Rot">
      <a:srgbClr val="D90000"/>
    </a:custClr>
    <a:custClr name="Gelb">
      <a:srgbClr val="FECB00"/>
    </a:custClr>
    <a:custClr name="Grün">
      <a:srgbClr val="46A800"/>
    </a:custClr>
  </a:custClrLst>
  <a:extLst>
    <a:ext uri="{05A4C25C-085E-4340-85A3-A5531E510DB2}">
      <thm15:themeFamily xmlns:thm15="http://schemas.microsoft.com/office/thememl/2012/main" name="Telekom_Master_Puzzle_Shape_022122_EN_V01.potx" id="{3D04C73A-4A37-4630-85F9-FFBB53A96562}" vid="{A3C312A6-BE62-4B18-B154-C4C85E7EF77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0EE17938040944807E2CB3F74B6C5B" ma:contentTypeVersion="12" ma:contentTypeDescription="Create a new document." ma:contentTypeScope="" ma:versionID="3fbac4c0d56a4068acd8f928c53be98b">
  <xsd:schema xmlns:xsd="http://www.w3.org/2001/XMLSchema" xmlns:xs="http://www.w3.org/2001/XMLSchema" xmlns:p="http://schemas.microsoft.com/office/2006/metadata/properties" xmlns:ns2="502cd890-45be-42ac-bff3-4f3652c033b1" xmlns:ns3="c6827b88-753d-4706-9a08-6a48d165ccce" targetNamespace="http://schemas.microsoft.com/office/2006/metadata/properties" ma:root="true" ma:fieldsID="819b8f26efbae00104246be74ef2f739" ns2:_="" ns3:_="">
    <xsd:import namespace="502cd890-45be-42ac-bff3-4f3652c033b1"/>
    <xsd:import namespace="c6827b88-753d-4706-9a08-6a48d165cc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2cd890-45be-42ac-bff3-4f3652c033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a50afd96-c383-415e-8905-ae2f774280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827b88-753d-4706-9a08-6a48d165ccc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0bf98a85-cba6-4958-8a2d-15b8705a2850}" ma:internalName="TaxCatchAll" ma:showField="CatchAllData" ma:web="c6827b88-753d-4706-9a08-6a48d165cc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02cd890-45be-42ac-bff3-4f3652c033b1">
      <Terms xmlns="http://schemas.microsoft.com/office/infopath/2007/PartnerControls"/>
    </lcf76f155ced4ddcb4097134ff3c332f>
    <TaxCatchAll xmlns="c6827b88-753d-4706-9a08-6a48d165ccce" xsi:nil="true"/>
    <SharedWithUsers xmlns="c6827b88-753d-4706-9a08-6a48d165ccce">
      <UserInfo>
        <DisplayName>Boura Tomáš</DisplayName>
        <AccountId>12</AccountId>
        <AccountType/>
      </UserInfo>
      <UserInfo>
        <DisplayName>Štorková Nikol</DisplayName>
        <AccountId>1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1BB4DDC-95BA-4133-9D1F-374174D5D517}">
  <ds:schemaRefs>
    <ds:schemaRef ds:uri="502cd890-45be-42ac-bff3-4f3652c033b1"/>
    <ds:schemaRef ds:uri="c6827b88-753d-4706-9a08-6a48d165ccc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E177A44-6544-4FBA-A75E-BB7B2DE779F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686C4F4-80C8-45C0-8B89-A82CF971506B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c6827b88-753d-4706-9a08-6a48d165ccce"/>
    <ds:schemaRef ds:uri="http://purl.org/dc/elements/1.1/"/>
    <ds:schemaRef ds:uri="http://schemas.microsoft.com/office/2006/metadata/properties"/>
    <ds:schemaRef ds:uri="502cd890-45be-42ac-bff3-4f3652c033b1"/>
    <ds:schemaRef ds:uri="http://purl.org/dc/terms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585</TotalTime>
  <Words>804</Words>
  <Application>Microsoft Office PowerPoint</Application>
  <PresentationFormat>Widescreen</PresentationFormat>
  <Paragraphs>112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5" baseType="lpstr">
      <vt:lpstr>Arial</vt:lpstr>
      <vt:lpstr>Calibri</vt:lpstr>
      <vt:lpstr>Calibri Light</vt:lpstr>
      <vt:lpstr>Courier New</vt:lpstr>
      <vt:lpstr>TeleNeo Office</vt:lpstr>
      <vt:lpstr>TeleNeo Office ExtraBold</vt:lpstr>
      <vt:lpstr>Office Theme</vt:lpstr>
      <vt:lpstr>T-Business Basic</vt:lpstr>
      <vt:lpstr>T-business Title</vt:lpstr>
      <vt:lpstr>think-cell Slide</vt:lpstr>
      <vt:lpstr>Postup zřízení  RCS Business Messaging partnera  Testování Agenta</vt:lpstr>
      <vt:lpstr>Zřízení Firemního účtu (profilu) na Google</vt:lpstr>
      <vt:lpstr>Přihlášení – účty Google</vt:lpstr>
      <vt:lpstr>Vytvoření Partnerského účtu Agent owner</vt:lpstr>
      <vt:lpstr>PowerPoint Presentation</vt:lpstr>
      <vt:lpstr>PowerPoint Presentation</vt:lpstr>
      <vt:lpstr>PowerPoint Presentation</vt:lpstr>
      <vt:lpstr>PowerPoint Presentation</vt:lpstr>
      <vt:lpstr>Vytváření jednotlivých Agentů (developer konzole)</vt:lpstr>
      <vt:lpstr>PowerPoint Presentation</vt:lpstr>
      <vt:lpstr>PowerPoint Presentation</vt:lpstr>
      <vt:lpstr>PowerPoint Presentation</vt:lpstr>
      <vt:lpstr>Business Communications (google.com)</vt:lpstr>
      <vt:lpstr>PowerPoint Presentation</vt:lpstr>
      <vt:lpstr>PowerPoint Presentation</vt:lpstr>
      <vt:lpstr>PowerPoint Presentation</vt:lpstr>
      <vt:lpstr>Detail zřízeného Agenta</vt:lpstr>
      <vt:lpstr>PowerPoint Presentation</vt:lpstr>
      <vt:lpstr>PowerPoint Presentation</vt:lpstr>
      <vt:lpstr>PowerPoint Presentation</vt:lpstr>
      <vt:lpstr>Definice klíče pro volání rozhraní API RBM Agen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estování Agenta</vt:lpstr>
      <vt:lpstr>PowerPoint Presentation</vt:lpstr>
      <vt:lpstr>Příklady Agentů Google</vt:lpstr>
      <vt:lpstr>Testování s T-Mobile</vt:lpstr>
      <vt:lpstr>Odkazy Goog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Communications (google.com)</dc:title>
  <dc:creator>Toman Martin</dc:creator>
  <cp:lastModifiedBy>Boura Tomáš</cp:lastModifiedBy>
  <cp:revision>26</cp:revision>
  <dcterms:created xsi:type="dcterms:W3CDTF">2022-12-22T07:58:19Z</dcterms:created>
  <dcterms:modified xsi:type="dcterms:W3CDTF">2023-01-25T14:5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e41b38-373c-4b3a-9137-5c0b023d0bef_Enabled">
    <vt:lpwstr>true</vt:lpwstr>
  </property>
  <property fmtid="{D5CDD505-2E9C-101B-9397-08002B2CF9AE}" pid="3" name="MSIP_Label_e3e41b38-373c-4b3a-9137-5c0b023d0bef_SetDate">
    <vt:lpwstr>2022-12-22T07:58:19Z</vt:lpwstr>
  </property>
  <property fmtid="{D5CDD505-2E9C-101B-9397-08002B2CF9AE}" pid="4" name="MSIP_Label_e3e41b38-373c-4b3a-9137-5c0b023d0bef_Method">
    <vt:lpwstr>Standard</vt:lpwstr>
  </property>
  <property fmtid="{D5CDD505-2E9C-101B-9397-08002B2CF9AE}" pid="5" name="MSIP_Label_e3e41b38-373c-4b3a-9137-5c0b023d0bef_Name">
    <vt:lpwstr>C2-Internal</vt:lpwstr>
  </property>
  <property fmtid="{D5CDD505-2E9C-101B-9397-08002B2CF9AE}" pid="6" name="MSIP_Label_e3e41b38-373c-4b3a-9137-5c0b023d0bef_SiteId">
    <vt:lpwstr>b213b057-1008-4204-8c53-8147bc602a29</vt:lpwstr>
  </property>
  <property fmtid="{D5CDD505-2E9C-101B-9397-08002B2CF9AE}" pid="7" name="MSIP_Label_e3e41b38-373c-4b3a-9137-5c0b023d0bef_ActionId">
    <vt:lpwstr>5c8d9cab-7ed6-4d04-ab1e-90763beb2b04</vt:lpwstr>
  </property>
  <property fmtid="{D5CDD505-2E9C-101B-9397-08002B2CF9AE}" pid="8" name="MSIP_Label_e3e41b38-373c-4b3a-9137-5c0b023d0bef_ContentBits">
    <vt:lpwstr>0</vt:lpwstr>
  </property>
  <property fmtid="{D5CDD505-2E9C-101B-9397-08002B2CF9AE}" pid="9" name="ContentTypeId">
    <vt:lpwstr>0x0101000A0EE17938040944807E2CB3F74B6C5B</vt:lpwstr>
  </property>
  <property fmtid="{D5CDD505-2E9C-101B-9397-08002B2CF9AE}" pid="10" name="MediaServiceImageTags">
    <vt:lpwstr/>
  </property>
</Properties>
</file>